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</p:sldMasterIdLst>
  <p:notesMasterIdLst>
    <p:notesMasterId r:id="rId14"/>
  </p:notesMasterIdLst>
  <p:handoutMasterIdLst>
    <p:handoutMasterId r:id="rId15"/>
  </p:handoutMasterIdLst>
  <p:sldIdLst>
    <p:sldId id="257" r:id="rId6"/>
    <p:sldId id="262" r:id="rId7"/>
    <p:sldId id="4624" r:id="rId8"/>
    <p:sldId id="4632" r:id="rId9"/>
    <p:sldId id="4634" r:id="rId10"/>
    <p:sldId id="4635" r:id="rId11"/>
    <p:sldId id="4633" r:id="rId12"/>
    <p:sldId id="4622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90979A"/>
    <a:srgbClr val="E1F000"/>
    <a:srgbClr val="08191F"/>
    <a:srgbClr val="FCFFC9"/>
    <a:srgbClr val="FFFFFF"/>
    <a:srgbClr val="DCE2E5"/>
    <a:srgbClr val="F2F2F2"/>
    <a:srgbClr val="B2B2B2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892" autoAdjust="0"/>
    <p:restoredTop sz="94660"/>
  </p:normalViewPr>
  <p:slideViewPr>
    <p:cSldViewPr snapToGrid="0">
      <p:cViewPr varScale="1">
        <p:scale>
          <a:sx n="152" d="100"/>
          <a:sy n="152" d="100"/>
        </p:scale>
        <p:origin x="156" y="31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8F3F7A5-72CC-8062-F0BE-D1BD11219D3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F00AA1-7C88-2A24-3370-914062C6DF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709A44-D3AE-4E63-8C6A-E7F85DA2D47F}" type="datetime1">
              <a:rPr lang="en-US" smtClean="0"/>
              <a:t>11/18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F8EA46-B897-A62D-83F5-99855C71E3C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AC4F55-8327-3058-67FC-6D10D8B2BE8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135ED5-F1DD-4AB3-BA82-3BFE369508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3646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B8F934-87E6-4233-B624-BF36F7F28A15}" type="datetime1">
              <a:rPr lang="en-US" smtClean="0"/>
              <a:t>11/18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03BBCF-2278-477F-8A30-9941F4792F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1017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image" Target="../media/image4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image" Target="../media/image4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ph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D6A8C7C-7DFD-15C5-B05F-4DBB14482B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0" y="571501"/>
            <a:ext cx="8572500" cy="1911600"/>
          </a:xfrm>
        </p:spPr>
        <p:txBody>
          <a:bodyPr wrap="square" anchor="b" anchorCtr="0">
            <a:noAutofit/>
          </a:bodyPr>
          <a:lstStyle>
            <a:lvl1pPr algn="l">
              <a:lnSpc>
                <a:spcPct val="93000"/>
              </a:lnSpc>
              <a:defRPr sz="74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1C3C53BD-B101-AD26-4F40-231EE14283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2483101"/>
            <a:ext cx="8572500" cy="2088899"/>
          </a:xfrm>
        </p:spPr>
        <p:txBody>
          <a:bodyPr wrap="square" tIns="252000">
            <a:noAutofit/>
          </a:bodyPr>
          <a:lstStyle>
            <a:lvl1pPr marL="0" indent="0" algn="l">
              <a:buNone/>
              <a:defRPr sz="3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e">
            <a:extLst>
              <a:ext uri="{FF2B5EF4-FFF2-40B4-BE49-F238E27FC236}">
                <a16:creationId xmlns:a16="http://schemas.microsoft.com/office/drawing/2014/main" id="{ED68D7C4-B1A7-DCD1-7190-71D1FF0112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1500" y="6231600"/>
            <a:ext cx="2476500" cy="288000"/>
          </a:xfrm>
        </p:spPr>
        <p:txBody>
          <a:bodyPr anchor="t" anchorCtr="0"/>
          <a:lstStyle>
            <a:lvl1pPr algn="l">
              <a:defRPr/>
            </a:lvl1pPr>
            <a:lvl2pPr marL="0" indent="0" algn="l">
              <a:buFontTx/>
              <a:buNone/>
              <a:defRPr b="1"/>
            </a:lvl2pPr>
            <a:lvl3pPr marL="0" algn="l">
              <a:lnSpc>
                <a:spcPct val="128000"/>
              </a:lnSpc>
              <a:defRPr sz="1600"/>
            </a:lvl3pPr>
            <a:lvl4pPr marL="0" indent="0" algn="l">
              <a:lnSpc>
                <a:spcPct val="128000"/>
              </a:lnSpc>
              <a:buFont typeface="Arial" panose="020B0604020202020204" pitchFamily="34" charset="0"/>
              <a:buNone/>
              <a:defRPr sz="1600" b="1"/>
            </a:lvl4pPr>
            <a:lvl5pPr marL="0" algn="l">
              <a:lnSpc>
                <a:spcPct val="188000"/>
              </a:lnSpc>
              <a:defRPr sz="1100"/>
            </a:lvl5pPr>
            <a:lvl6pPr marL="0" indent="0" algn="l">
              <a:lnSpc>
                <a:spcPct val="188000"/>
              </a:lnSpc>
              <a:buFont typeface="Arial" panose="020B0604020202020204" pitchFamily="34" charset="0"/>
              <a:buNone/>
              <a:defRPr sz="1100" b="1"/>
            </a:lvl6pPr>
            <a:lvl7pPr marL="0" algn="l">
              <a:defRPr b="0">
                <a:solidFill>
                  <a:schemeClr val="accent5"/>
                </a:solidFill>
              </a:defRPr>
            </a:lvl7pPr>
            <a:lvl8pPr marL="0" indent="0" algn="l">
              <a:lnSpc>
                <a:spcPct val="128000"/>
              </a:lnSpc>
              <a:buFont typeface="Arial" panose="020B0604020202020204" pitchFamily="34" charset="0"/>
              <a:buNone/>
              <a:defRPr sz="1600" b="0">
                <a:solidFill>
                  <a:schemeClr val="accent5"/>
                </a:solidFill>
              </a:defRPr>
            </a:lvl8pPr>
            <a:lvl9pPr marL="0" algn="l">
              <a:lnSpc>
                <a:spcPct val="188000"/>
              </a:lnSpc>
              <a:defRPr sz="11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dirty="0"/>
              <a:t>Presentation date</a:t>
            </a:r>
            <a:endParaRPr lang="de-DE" dirty="0"/>
          </a:p>
        </p:txBody>
      </p:sp>
      <p:pic>
        <p:nvPicPr>
          <p:cNvPr id="6" name="INNOMOTICS Logo" descr="INNOMOTICS – A Siemens Business logo">
            <a:extLst>
              <a:ext uri="{FF2B5EF4-FFF2-40B4-BE49-F238E27FC236}">
                <a16:creationId xmlns:a16="http://schemas.microsoft.com/office/drawing/2014/main" id="{C622DE4E-F8D9-A056-E212-E1C67EABD18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572499" y="5437322"/>
            <a:ext cx="3048001" cy="1028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628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08191F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B49DBFED-FB33-87A3-BF56-FB31FD2FE8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04000"/>
            <a:ext cx="6096000" cy="640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A9105330-A92B-B488-D2DD-FAC8585118A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1500" y="1638000"/>
            <a:ext cx="6094800" cy="4078800"/>
          </a:xfrm>
        </p:spPr>
        <p:txBody>
          <a:bodyPr t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B0F4D0D5-43AF-3D08-2EF6-AB5DE4CB23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6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806B0F86-3B1D-F49C-7824-E8A27ABD6E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1018800" y="6285600"/>
            <a:ext cx="5648700" cy="180000"/>
          </a:xfrm>
        </p:spPr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A3706180-62B4-9897-E08A-94B6439BEC8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7112000" y="0"/>
            <a:ext cx="5080000" cy="6857999"/>
          </a:xfrm>
          <a:solidFill>
            <a:schemeClr val="accent3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here</a:t>
            </a:r>
          </a:p>
        </p:txBody>
      </p:sp>
      <p:sp>
        <p:nvSpPr>
          <p:cNvPr id="4" name="INNOMOTICS Logo" descr="INNOMOTICS logo">
            <a:extLst>
              <a:ext uri="{FF2B5EF4-FFF2-40B4-BE49-F238E27FC236}">
                <a16:creationId xmlns:a16="http://schemas.microsoft.com/office/drawing/2014/main" id="{4E732B83-9B72-58C6-BA84-2440F4C391E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425300" y="6062400"/>
            <a:ext cx="1195200" cy="403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1484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08191F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  <p15:guide id="23" pos="4200">
          <p15:clr>
            <a:srgbClr val="08191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B7BF466-15E3-2155-DEC9-C88110A19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72400"/>
            <a:ext cx="5080000" cy="2444400"/>
          </a:xfrm>
        </p:spPr>
        <p:txBody>
          <a:bodyPr wrap="square" anchor="b" anchorCtr="0">
            <a:noAutofit/>
          </a:bodyPr>
          <a:lstStyle>
            <a:lvl1pPr>
              <a:lnSpc>
                <a:spcPct val="93000"/>
              </a:lnSpc>
              <a:defRPr sz="60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F054ECB7-8091-438B-D643-BF0F1B5844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3016800"/>
            <a:ext cx="5080000" cy="2700000"/>
          </a:xfrm>
        </p:spPr>
        <p:txBody>
          <a:bodyPr tIns="342000"/>
          <a:lstStyle>
            <a:lvl1pPr>
              <a:defRPr sz="1800"/>
            </a:lvl1pPr>
            <a:lvl2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/>
            </a:lvl2pPr>
            <a:lvl3pPr marL="324000" indent="0">
              <a:buFont typeface="Arial" panose="020B0604020202020204" pitchFamily="34" charset="0"/>
              <a:buNone/>
              <a:defRPr sz="1800" b="1"/>
            </a:lvl3pPr>
            <a:lvl4pPr marL="648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/>
            </a:lvl4pPr>
            <a:lvl5pPr marL="648000" indent="0">
              <a:buFont typeface="Arial" panose="020B0604020202020204" pitchFamily="34" charset="0"/>
              <a:buNone/>
              <a:defRPr sz="1800" b="1"/>
            </a:lvl5pPr>
            <a:lvl6pPr marL="972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/>
            </a:lvl6pPr>
            <a:lvl7pPr marL="972000" indent="0">
              <a:buFont typeface="Arial" panose="020B0604020202020204" pitchFamily="34" charset="0"/>
              <a:buNone/>
              <a:defRPr sz="1800" b="1"/>
            </a:lvl7pPr>
            <a:lvl8pPr marL="1296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/>
            </a:lvl8pPr>
            <a:lvl9pPr marL="1296000" indent="0">
              <a:buFont typeface="Arial" panose="020B0604020202020204" pitchFamily="34" charset="0"/>
              <a:buNone/>
              <a:defRPr sz="18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CE55EE0-7CDF-B3DA-DB53-88B8D07AE4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BF2A1379-7D7B-B444-2D94-69085141D9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1018800" y="6285600"/>
            <a:ext cx="4632700" cy="180000"/>
          </a:xfrm>
        </p:spPr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A3706180-62B4-9897-E08A-94B6439BEC8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097200" y="0"/>
            <a:ext cx="6094800" cy="2286000"/>
          </a:xfrm>
          <a:solidFill>
            <a:schemeClr val="accent3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1 here</a:t>
            </a:r>
          </a:p>
        </p:txBody>
      </p:sp>
      <p:sp>
        <p:nvSpPr>
          <p:cNvPr id="4" name="Picture">
            <a:extLst>
              <a:ext uri="{FF2B5EF4-FFF2-40B4-BE49-F238E27FC236}">
                <a16:creationId xmlns:a16="http://schemas.microsoft.com/office/drawing/2014/main" id="{A93A0660-0DFC-009B-63E9-0B4753AC85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096000" y="2286000"/>
            <a:ext cx="6096000" cy="2286000"/>
          </a:xfrm>
          <a:solidFill>
            <a:schemeClr val="accent4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2 here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4F2DC2CD-2BEA-86DE-24FD-F7153A0D1E7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097200" y="4572000"/>
            <a:ext cx="6094800" cy="2286000"/>
          </a:xfrm>
          <a:solidFill>
            <a:schemeClr val="accent3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3 here</a:t>
            </a:r>
          </a:p>
        </p:txBody>
      </p:sp>
      <p:sp>
        <p:nvSpPr>
          <p:cNvPr id="5" name="INNOMOTICS Logo" descr="INNOMOTICS logo">
            <a:extLst>
              <a:ext uri="{FF2B5EF4-FFF2-40B4-BE49-F238E27FC236}">
                <a16:creationId xmlns:a16="http://schemas.microsoft.com/office/drawing/2014/main" id="{7FBE74A4-8E06-5ABC-B3B3-D2C20BA7C66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 hasCustomPrompt="1"/>
          </p:nvPr>
        </p:nvSpPr>
        <p:spPr>
          <a:xfrm>
            <a:off x="10425300" y="6062400"/>
            <a:ext cx="1195200" cy="4032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4644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08191F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E1F000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E1F000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  <p15:guide id="23" pos="3560">
          <p15:clr>
            <a:srgbClr val="08191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7044E232-20C0-20AC-CC81-296A902E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Picture">
            <a:extLst>
              <a:ext uri="{FF2B5EF4-FFF2-40B4-BE49-F238E27FC236}">
                <a16:creationId xmlns:a16="http://schemas.microsoft.com/office/drawing/2014/main" id="{DD962059-0136-FBFC-344F-57B8BCFDC2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1714500"/>
            <a:ext cx="4064400" cy="3429000"/>
          </a:xfrm>
          <a:solidFill>
            <a:schemeClr val="accent3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1 here</a:t>
            </a:r>
          </a:p>
        </p:txBody>
      </p:sp>
      <p:sp>
        <p:nvSpPr>
          <p:cNvPr id="18" name="Picture">
            <a:extLst>
              <a:ext uri="{FF2B5EF4-FFF2-40B4-BE49-F238E27FC236}">
                <a16:creationId xmlns:a16="http://schemas.microsoft.com/office/drawing/2014/main" id="{C1F99CC7-4311-7666-EEE0-5C5F63C16A9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064400" y="1714500"/>
            <a:ext cx="4064400" cy="3429000"/>
          </a:xfrm>
          <a:solidFill>
            <a:schemeClr val="accent4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2 here</a:t>
            </a:r>
          </a:p>
        </p:txBody>
      </p:sp>
      <p:sp>
        <p:nvSpPr>
          <p:cNvPr id="19" name="Picture">
            <a:extLst>
              <a:ext uri="{FF2B5EF4-FFF2-40B4-BE49-F238E27FC236}">
                <a16:creationId xmlns:a16="http://schemas.microsoft.com/office/drawing/2014/main" id="{E6B1B565-E7FB-A83C-6A55-34FF0E0E78D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ltGray">
          <a:xfrm>
            <a:off x="8127600" y="1714500"/>
            <a:ext cx="4064400" cy="3429000"/>
          </a:xfrm>
          <a:solidFill>
            <a:schemeClr val="accent3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3 here</a:t>
            </a:r>
          </a:p>
        </p:txBody>
      </p:sp>
      <p:sp>
        <p:nvSpPr>
          <p:cNvPr id="20" name="Text">
            <a:extLst>
              <a:ext uri="{FF2B5EF4-FFF2-40B4-BE49-F238E27FC236}">
                <a16:creationId xmlns:a16="http://schemas.microsoft.com/office/drawing/2014/main" id="{09EFF7DA-D6B7-9C8A-F356-FD4DCFED8E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5143500"/>
            <a:ext cx="4064400" cy="571500"/>
          </a:xfrm>
        </p:spPr>
        <p:txBody>
          <a:bodyPr lIns="572400" tIns="244800" rIns="572400"/>
          <a:lstStyle>
            <a:lvl1pPr>
              <a:spcAft>
                <a:spcPts val="400"/>
              </a:spcAft>
              <a:defRPr sz="1600" b="0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2pPr>
            <a:lvl3pPr marL="288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3pPr>
            <a:lvl4pPr marL="288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4pPr>
            <a:lvl5pPr marL="576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5pPr>
            <a:lvl6pPr marL="576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6pPr>
            <a:lvl7pPr marL="864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7pPr>
            <a:lvl8pPr marL="864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8pPr>
            <a:lvl9pPr marL="1152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9pPr>
          </a:lstStyle>
          <a:p>
            <a:pPr lvl="0"/>
            <a:r>
              <a:rPr lang="en-US" dirty="0"/>
              <a:t>Short text line</a:t>
            </a:r>
            <a:endParaRPr lang="de-DE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12A2F516-0C61-6E3C-A972-29D44C60D8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4400" y="5143500"/>
            <a:ext cx="4064400" cy="571500"/>
          </a:xfrm>
        </p:spPr>
        <p:txBody>
          <a:bodyPr lIns="572400" tIns="244800" rIns="572400"/>
          <a:lstStyle>
            <a:lvl1pPr>
              <a:spcAft>
                <a:spcPts val="400"/>
              </a:spcAft>
              <a:defRPr sz="1600" b="0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2pPr>
            <a:lvl3pPr marL="288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3pPr>
            <a:lvl4pPr marL="288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4pPr>
            <a:lvl5pPr marL="576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5pPr>
            <a:lvl6pPr marL="576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6pPr>
            <a:lvl7pPr marL="864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7pPr>
            <a:lvl8pPr marL="864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8pPr>
            <a:lvl9pPr marL="1152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9pPr>
          </a:lstStyle>
          <a:p>
            <a:pPr lvl="0"/>
            <a:r>
              <a:rPr lang="en-US" dirty="0"/>
              <a:t>Short text line</a:t>
            </a:r>
            <a:endParaRPr lang="de-DE" dirty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64B3DC57-919D-8FB6-F4A4-19AA8E5D26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7600" y="5143500"/>
            <a:ext cx="4064400" cy="571500"/>
          </a:xfrm>
        </p:spPr>
        <p:txBody>
          <a:bodyPr lIns="572400" tIns="244800" rIns="572400"/>
          <a:lstStyle>
            <a:lvl1pPr>
              <a:spcAft>
                <a:spcPts val="400"/>
              </a:spcAft>
              <a:defRPr sz="1600" b="0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2pPr>
            <a:lvl3pPr marL="288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3pPr>
            <a:lvl4pPr marL="288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4pPr>
            <a:lvl5pPr marL="576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5pPr>
            <a:lvl6pPr marL="576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6pPr>
            <a:lvl7pPr marL="864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7pPr>
            <a:lvl8pPr marL="864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8pPr>
            <a:lvl9pPr marL="1152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9pPr>
          </a:lstStyle>
          <a:p>
            <a:pPr lvl="0"/>
            <a:r>
              <a:rPr lang="en-US" dirty="0"/>
              <a:t>Short text line</a:t>
            </a:r>
            <a:endParaRPr lang="de-DE" dirty="0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CD9F8DE-CC92-0DB1-7F78-8F59C48047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2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Footer">
            <a:extLst>
              <a:ext uri="{FF2B5EF4-FFF2-40B4-BE49-F238E27FC236}">
                <a16:creationId xmlns:a16="http://schemas.microsoft.com/office/drawing/2014/main" id="{9472B2C4-1A7A-E7CD-4D6E-5171E50B96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2" name="INNOMOTICS Logo" descr="INNOMOTICS – A Siemens Business logo">
            <a:extLst>
              <a:ext uri="{FF2B5EF4-FFF2-40B4-BE49-F238E27FC236}">
                <a16:creationId xmlns:a16="http://schemas.microsoft.com/office/drawing/2014/main" id="{4BC52D4E-D882-380D-5D53-A7E4C8A5E70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773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08191F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">
            <a:extLst>
              <a:ext uri="{FF2B5EF4-FFF2-40B4-BE49-F238E27FC236}">
                <a16:creationId xmlns:a16="http://schemas.microsoft.com/office/drawing/2014/main" id="{17B13992-8D12-2CEA-ED83-C76E2048E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A2B26B96-16F8-12F7-A0CD-59B9D37A96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White">
          <a:xfrm>
            <a:off x="0" y="1714499"/>
            <a:ext cx="4064400" cy="4000501"/>
          </a:xfrm>
          <a:solidFill>
            <a:schemeClr val="tx2"/>
          </a:solidFill>
        </p:spPr>
        <p:txBody>
          <a:bodyPr lIns="572400" tIns="334800" rIns="572400" bIns="572400"/>
          <a:lstStyle>
            <a:lvl1pPr marL="0">
              <a:spcAft>
                <a:spcPts val="2100"/>
              </a:spcAft>
              <a:defRPr sz="18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88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3pPr>
            <a:lvl4pPr marL="2880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576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5pPr>
            <a:lvl6pPr marL="57600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6pPr>
            <a:lvl7pPr marL="864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7pPr>
            <a:lvl8pPr marL="86400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8pPr>
            <a:lvl9pPr marL="1152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6" name="Text Highlight">
            <a:extLst>
              <a:ext uri="{FF2B5EF4-FFF2-40B4-BE49-F238E27FC236}">
                <a16:creationId xmlns:a16="http://schemas.microsoft.com/office/drawing/2014/main" id="{476B1FAE-235D-561A-903F-6C25C0738B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4400" y="1715400"/>
            <a:ext cx="4064400" cy="3999600"/>
          </a:xfrm>
          <a:solidFill>
            <a:schemeClr val="bg2"/>
          </a:solidFill>
        </p:spPr>
        <p:txBody>
          <a:bodyPr lIns="572400" tIns="334800" rIns="572400" bIns="572400"/>
          <a:lstStyle>
            <a:lvl1pPr marL="0">
              <a:spcAft>
                <a:spcPts val="210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marL="288000" indent="-288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>
                <a:solidFill>
                  <a:schemeClr val="tx2"/>
                </a:solidFill>
              </a:defRPr>
            </a:lvl3pPr>
            <a:lvl4pPr marL="28800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4pPr>
            <a:lvl5pPr marL="576000" indent="-288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>
                <a:solidFill>
                  <a:schemeClr val="tx2"/>
                </a:solidFill>
              </a:defRPr>
            </a:lvl5pPr>
            <a:lvl6pPr marL="576000" indent="0">
              <a:buFont typeface="Arial" panose="020B0604020202020204" pitchFamily="34" charset="0"/>
              <a:buNone/>
              <a:defRPr sz="1600"/>
            </a:lvl6pPr>
            <a:lvl7pPr marL="864000" indent="-288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/>
            </a:lvl7pPr>
            <a:lvl8pPr marL="864000" indent="0">
              <a:buFont typeface="Arial" panose="020B0604020202020204" pitchFamily="34" charset="0"/>
              <a:buNone/>
              <a:defRPr sz="1600"/>
            </a:lvl8pPr>
            <a:lvl9pPr marL="1152000" indent="-288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/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8A6B9D13-7277-34B0-1EC8-22438ED080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White">
          <a:xfrm>
            <a:off x="8127600" y="1714499"/>
            <a:ext cx="4064400" cy="4000501"/>
          </a:xfrm>
          <a:solidFill>
            <a:schemeClr val="tx2"/>
          </a:solidFill>
        </p:spPr>
        <p:txBody>
          <a:bodyPr lIns="572400" tIns="334800" rIns="572400" bIns="572400"/>
          <a:lstStyle>
            <a:lvl1pPr marL="0">
              <a:spcAft>
                <a:spcPts val="2100"/>
              </a:spcAft>
              <a:defRPr sz="18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88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3pPr>
            <a:lvl4pPr marL="2880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576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5pPr>
            <a:lvl6pPr marL="57600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6pPr>
            <a:lvl7pPr marL="864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7pPr>
            <a:lvl8pPr marL="86400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8pPr>
            <a:lvl9pPr marL="1152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5E169C-1867-BF5D-6986-5A473D71A52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8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383F4304-B8D7-5713-6F63-EDB60AAF2E9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6" name="INNOMOTICS Logo" descr="INNOMOTICS – A Siemens Business logo">
            <a:extLst>
              <a:ext uri="{FF2B5EF4-FFF2-40B4-BE49-F238E27FC236}">
                <a16:creationId xmlns:a16="http://schemas.microsoft.com/office/drawing/2014/main" id="{1687A054-4C7C-C853-DCD1-31A4A7B2A7A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604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s + three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5832F5D6-D4EF-C6E3-CC83-FF4DF7ABD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Picture">
            <a:extLst>
              <a:ext uri="{FF2B5EF4-FFF2-40B4-BE49-F238E27FC236}">
                <a16:creationId xmlns:a16="http://schemas.microsoft.com/office/drawing/2014/main" id="{7DF2A12A-62BF-BBF9-676C-5D666BD5D9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1714500"/>
            <a:ext cx="4064400" cy="2286000"/>
          </a:xfrm>
          <a:solidFill>
            <a:schemeClr val="accent3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1 here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8A08E5AA-388B-E501-4F34-883B1CAA5F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000500"/>
            <a:ext cx="4064400" cy="1714500"/>
          </a:xfrm>
        </p:spPr>
        <p:txBody>
          <a:bodyPr lIns="572400" tIns="367200" rIns="572400"/>
          <a:lstStyle>
            <a:lvl1pPr>
              <a:spcAft>
                <a:spcPts val="4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2pPr>
            <a:lvl3pPr marL="216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3pPr>
            <a:lvl4pPr marL="216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4pPr>
            <a:lvl5pPr marL="432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5pPr>
            <a:lvl6pPr marL="432000" indent="0">
              <a:spcAft>
                <a:spcPts val="400"/>
              </a:spcAft>
              <a:buFont typeface="Arial" panose="020B0604020202020204" pitchFamily="34" charset="0"/>
              <a:buNone/>
              <a:defRPr sz="1400" b="0"/>
            </a:lvl6pPr>
            <a:lvl7pPr marL="648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7pPr>
            <a:lvl8pPr marL="648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8pPr>
            <a:lvl9pPr marL="864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4" name="Picture">
            <a:extLst>
              <a:ext uri="{FF2B5EF4-FFF2-40B4-BE49-F238E27FC236}">
                <a16:creationId xmlns:a16="http://schemas.microsoft.com/office/drawing/2014/main" id="{52F106F4-61AF-CB5C-3A38-33A366DE6AB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064400" y="1714500"/>
            <a:ext cx="4064400" cy="2286000"/>
          </a:xfrm>
          <a:solidFill>
            <a:schemeClr val="accent4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2 here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F5C400D4-F680-BDA5-850D-6B68280488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4400" y="4000500"/>
            <a:ext cx="4064400" cy="1714500"/>
          </a:xfrm>
        </p:spPr>
        <p:txBody>
          <a:bodyPr lIns="288000" tIns="367200" rIns="572400"/>
          <a:lstStyle>
            <a:lvl1pPr>
              <a:spcAft>
                <a:spcPts val="4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2pPr>
            <a:lvl3pPr marL="216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3pPr>
            <a:lvl4pPr marL="216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4pPr>
            <a:lvl5pPr marL="432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5pPr>
            <a:lvl6pPr marL="432000" indent="0">
              <a:spcAft>
                <a:spcPts val="400"/>
              </a:spcAft>
              <a:buFont typeface="Arial" panose="020B0604020202020204" pitchFamily="34" charset="0"/>
              <a:buNone/>
              <a:defRPr sz="1400" b="0"/>
            </a:lvl6pPr>
            <a:lvl7pPr marL="648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7pPr>
            <a:lvl8pPr marL="648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8pPr>
            <a:lvl9pPr marL="864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6" name="Picture">
            <a:extLst>
              <a:ext uri="{FF2B5EF4-FFF2-40B4-BE49-F238E27FC236}">
                <a16:creationId xmlns:a16="http://schemas.microsoft.com/office/drawing/2014/main" id="{EF6ACC2C-A1F4-17B4-D0F4-0EDA5273903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ltGray">
          <a:xfrm>
            <a:off x="8127600" y="1714500"/>
            <a:ext cx="4064400" cy="2286000"/>
          </a:xfrm>
          <a:solidFill>
            <a:schemeClr val="accent3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3 here</a:t>
            </a:r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7E69DC2B-65F4-4B07-C275-6CC8F1F5B5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7600" y="4000500"/>
            <a:ext cx="4064400" cy="1714500"/>
          </a:xfrm>
        </p:spPr>
        <p:txBody>
          <a:bodyPr lIns="288000" tIns="367200" rIns="572400"/>
          <a:lstStyle>
            <a:lvl1pPr>
              <a:spcAft>
                <a:spcPts val="4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2pPr>
            <a:lvl3pPr marL="216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3pPr>
            <a:lvl4pPr marL="216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4pPr>
            <a:lvl5pPr marL="432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5pPr>
            <a:lvl6pPr marL="432000" indent="0">
              <a:spcAft>
                <a:spcPts val="400"/>
              </a:spcAft>
              <a:buFont typeface="Arial" panose="020B0604020202020204" pitchFamily="34" charset="0"/>
              <a:buNone/>
              <a:defRPr sz="1400" b="0"/>
            </a:lvl6pPr>
            <a:lvl7pPr marL="648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7pPr>
            <a:lvl8pPr marL="648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8pPr>
            <a:lvl9pPr marL="864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3DE9842C-E20A-ED7F-05F6-1C54F408FF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2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82D3ED71-BC00-2D1D-DA58-349D141F69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4" name="INNOMOTICS Logo" descr="INNOMOTICS – A Siemens Business logo">
            <a:extLst>
              <a:ext uri="{FF2B5EF4-FFF2-40B4-BE49-F238E27FC236}">
                <a16:creationId xmlns:a16="http://schemas.microsoft.com/office/drawing/2014/main" id="{840F876A-3A45-1966-7073-0DD393EDEC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135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08191F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(dark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5DFA6992-095C-8591-2384-42D6A42E9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255713" algn="l"/>
              </a:tabLst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able">
            <a:extLst>
              <a:ext uri="{FF2B5EF4-FFF2-40B4-BE49-F238E27FC236}">
                <a16:creationId xmlns:a16="http://schemas.microsoft.com/office/drawing/2014/main" id="{1FE82B31-B5F3-5F98-8378-66A6032BB01A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0" y="1714500"/>
            <a:ext cx="12192000" cy="4000500"/>
          </a:xfrm>
        </p:spPr>
        <p:txBody>
          <a:bodyPr bIns="504000"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ease insert table her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4F70156B-1A94-540B-51D8-86B8B3EACB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BFEB40F3-A7F6-9092-5D44-67E931523C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2" name="INNOMOTICS Logo">
            <a:extLst>
              <a:ext uri="{FF2B5EF4-FFF2-40B4-BE49-F238E27FC236}">
                <a16:creationId xmlns:a16="http://schemas.microsoft.com/office/drawing/2014/main" id="{29C01FB8-6624-6EE5-A7F8-2A27575ECCA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425687" y="6062690"/>
            <a:ext cx="1194813" cy="403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763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E1F000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5DFA6992-095C-8591-2384-42D6A42E9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255713" algn="l"/>
              </a:tabLst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able">
            <a:extLst>
              <a:ext uri="{FF2B5EF4-FFF2-40B4-BE49-F238E27FC236}">
                <a16:creationId xmlns:a16="http://schemas.microsoft.com/office/drawing/2014/main" id="{1FE82B31-B5F3-5F98-8378-66A6032BB01A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0" y="1714500"/>
            <a:ext cx="12192000" cy="4000500"/>
          </a:xfrm>
        </p:spPr>
        <p:txBody>
          <a:bodyPr bIns="504000"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ease insert table her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4F70156B-1A94-540B-51D8-86B8B3EACB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BFEB40F3-A7F6-9092-5D44-67E931523C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2" name="INNOMOTICS Logo" descr="INNOMOTICS – A Siemens Business logo">
            <a:extLst>
              <a:ext uri="{FF2B5EF4-FFF2-40B4-BE49-F238E27FC236}">
                <a16:creationId xmlns:a16="http://schemas.microsoft.com/office/drawing/2014/main" id="{96F37C96-657E-8A55-5898-508067F3948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370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E1F000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 (dark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5832F5D6-D4EF-C6E3-CC83-FF4DF7ABD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3DE9842C-E20A-ED7F-05F6-1C54F408FF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82D3ED71-BC00-2D1D-DA58-349D141F69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4" name="INNOMOTICS Logo">
            <a:extLst>
              <a:ext uri="{FF2B5EF4-FFF2-40B4-BE49-F238E27FC236}">
                <a16:creationId xmlns:a16="http://schemas.microsoft.com/office/drawing/2014/main" id="{6EFE466D-3E8A-0BD1-82E0-B3077C72C57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425687" y="6062690"/>
            <a:ext cx="1194813" cy="403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2794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08191F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5832F5D6-D4EF-C6E3-CC83-FF4DF7ABD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3DE9842C-E20A-ED7F-05F6-1C54F408FF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82D3ED71-BC00-2D1D-DA58-349D141F69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4" name="INNOMOTICS Logo" descr="INNOMOTICS – A Siemens Business logo">
            <a:extLst>
              <a:ext uri="{FF2B5EF4-FFF2-40B4-BE49-F238E27FC236}">
                <a16:creationId xmlns:a16="http://schemas.microsoft.com/office/drawing/2014/main" id="{8DD99466-96F7-9DB6-BA18-1BFAC748238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49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08191F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 (dark) with headll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>
            <a:extLst>
              <a:ext uri="{FF2B5EF4-FFF2-40B4-BE49-F238E27FC236}">
                <a16:creationId xmlns:a16="http://schemas.microsoft.com/office/drawing/2014/main" id="{44E10281-C212-AB8C-190B-231486C2B01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0"/>
            <a:ext cx="12192000" cy="6858000"/>
          </a:xfrm>
          <a:solidFill>
            <a:schemeClr val="accent3"/>
          </a:solidFill>
        </p:spPr>
        <p:txBody>
          <a:bodyPr lIns="572400" tIns="529200" rIns="572400" bIns="1144800" anchor="b"/>
          <a:lstStyle>
            <a:lvl1pPr algn="ctr">
              <a:defRPr i="0">
                <a:solidFill>
                  <a:schemeClr val="bg2"/>
                </a:solidFill>
                <a:sym typeface="Wingdings" panose="05000000000000000000" pitchFamily="2" charset="2"/>
              </a:defRPr>
            </a:lvl1pPr>
          </a:lstStyle>
          <a:p>
            <a:r>
              <a:rPr lang="en-US" dirty="0"/>
              <a:t>Please insert full size image here. Just use “Insert”  “Images”  “Pictures” for it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3BE290B-1C48-088A-09E8-E9AD23184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3812552"/>
          </a:xfrm>
          <a:gradFill flip="none" rotWithShape="1">
            <a:gsLst>
              <a:gs pos="15000">
                <a:schemeClr val="bg2">
                  <a:alpha val="60000"/>
                </a:schemeClr>
              </a:gs>
              <a:gs pos="60000">
                <a:schemeClr val="bg2">
                  <a:alpha val="0"/>
                </a:schemeClr>
              </a:gs>
            </a:gsLst>
            <a:lin ang="4680000" scaled="0"/>
            <a:tileRect/>
          </a:gradFill>
        </p:spPr>
        <p:txBody>
          <a:bodyPr wrap="square" lIns="572400" tIns="536400" rIns="1144800" bIns="1717200">
            <a:spAutoFit/>
          </a:bodyPr>
          <a:lstStyle>
            <a:lvl1pPr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00A14A6-B7A1-761D-E45E-12C1C9C4831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A0B8956D-471A-BDE4-6296-ADF7DE63CF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sp>
        <p:nvSpPr>
          <p:cNvPr id="4" name="INNOMOTICS Logo" descr="INNOMOTICS logo">
            <a:extLst>
              <a:ext uri="{FF2B5EF4-FFF2-40B4-BE49-F238E27FC236}">
                <a16:creationId xmlns:a16="http://schemas.microsoft.com/office/drawing/2014/main" id="{A6BD14E3-2A70-5DDF-18AE-BB1BDD31FA4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425300" y="6062400"/>
            <a:ext cx="1195200" cy="403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6835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E1F000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plit forma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D6A8C7C-7DFD-15C5-B05F-4DBB14482B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67500" y="571500"/>
            <a:ext cx="4953000" cy="2448000"/>
          </a:xfrm>
        </p:spPr>
        <p:txBody>
          <a:bodyPr wrap="square" anchor="b">
            <a:noAutofit/>
          </a:bodyPr>
          <a:lstStyle>
            <a:lvl1pPr algn="l">
              <a:lnSpc>
                <a:spcPct val="93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1C3C53BD-B101-AD26-4F40-231EE14283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67500" y="3019500"/>
            <a:ext cx="4953000" cy="704319"/>
          </a:xfrm>
        </p:spPr>
        <p:txBody>
          <a:bodyPr wrap="square" tIns="324000">
            <a:spAutoFit/>
          </a:bodyPr>
          <a:lstStyle>
            <a:lvl1pPr marL="0" indent="0" algn="l">
              <a:lnSpc>
                <a:spcPct val="113000"/>
              </a:lnSpc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7" name="Title image">
            <a:extLst>
              <a:ext uri="{FF2B5EF4-FFF2-40B4-BE49-F238E27FC236}">
                <a16:creationId xmlns:a16="http://schemas.microsoft.com/office/drawing/2014/main" id="{9F848A1D-B544-B369-8827-6059D43242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6096000" cy="6858000"/>
          </a:xfrm>
          <a:solidFill>
            <a:schemeClr val="accent4"/>
          </a:solidFill>
        </p:spPr>
        <p:txBody>
          <a:bodyPr lIns="572400" tIns="529200" rIns="0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 dirty="0"/>
              <a:t>Please insert title image he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D96365CA-D54F-011B-00F3-9CD4CDF124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67500" y="6286500"/>
            <a:ext cx="1460500" cy="216000"/>
          </a:xfrm>
        </p:spPr>
        <p:txBody>
          <a:bodyPr anchor="t" anchorCtr="0"/>
          <a:lstStyle>
            <a:lvl1pPr algn="l">
              <a:lnSpc>
                <a:spcPct val="132000"/>
              </a:lnSpc>
              <a:defRPr sz="1200"/>
            </a:lvl1pPr>
            <a:lvl2pPr marL="0" indent="0" algn="l">
              <a:lnSpc>
                <a:spcPct val="132000"/>
              </a:lnSpc>
              <a:buFontTx/>
              <a:buNone/>
              <a:defRPr sz="1200" b="1"/>
            </a:lvl2pPr>
            <a:lvl3pPr marL="0" indent="0" algn="l">
              <a:lnSpc>
                <a:spcPct val="143000"/>
              </a:lnSpc>
              <a:buFont typeface="Arial" panose="020B0604020202020204" pitchFamily="34" charset="0"/>
              <a:buNone/>
              <a:defRPr sz="1100"/>
            </a:lvl3pPr>
            <a:lvl4pPr marL="0" indent="0" algn="l">
              <a:lnSpc>
                <a:spcPct val="143000"/>
              </a:lnSpc>
              <a:buFontTx/>
              <a:buNone/>
              <a:defRPr sz="1100" b="1"/>
            </a:lvl4pPr>
            <a:lvl5pPr marL="0" algn="l">
              <a:lnSpc>
                <a:spcPct val="155000"/>
              </a:lnSpc>
              <a:defRPr sz="1000" b="0"/>
            </a:lvl5pPr>
            <a:lvl6pPr marL="0" indent="0" algn="l">
              <a:lnSpc>
                <a:spcPct val="155000"/>
              </a:lnSpc>
              <a:buFont typeface="Arial" panose="020B0604020202020204" pitchFamily="34" charset="0"/>
              <a:buNone/>
              <a:defRPr sz="1000" b="1"/>
            </a:lvl6pPr>
            <a:lvl7pPr marL="0" algn="l">
              <a:lnSpc>
                <a:spcPct val="128000"/>
              </a:lnSpc>
              <a:defRPr sz="1200" b="0">
                <a:solidFill>
                  <a:schemeClr val="accent5"/>
                </a:solidFill>
              </a:defRPr>
            </a:lvl7pPr>
            <a:lvl8pPr marL="0" indent="0" algn="l">
              <a:lnSpc>
                <a:spcPct val="143000"/>
              </a:lnSpc>
              <a:buFont typeface="Arial" panose="020B0604020202020204" pitchFamily="34" charset="0"/>
              <a:buNone/>
              <a:defRPr sz="1100" b="0">
                <a:solidFill>
                  <a:schemeClr val="accent5"/>
                </a:solidFill>
              </a:defRPr>
            </a:lvl8pPr>
            <a:lvl9pPr marL="0" indent="0" algn="l">
              <a:lnSpc>
                <a:spcPct val="155000"/>
              </a:lnSpc>
              <a:buFont typeface="Arial" panose="020B0604020202020204" pitchFamily="34" charset="0"/>
              <a:buNone/>
              <a:tabLst>
                <a:tab pos="1163638" algn="l"/>
              </a:tabLst>
              <a:defRPr sz="10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dirty="0"/>
              <a:t>Presentation date</a:t>
            </a:r>
            <a:endParaRPr lang="de-DE" dirty="0"/>
          </a:p>
        </p:txBody>
      </p:sp>
      <p:pic>
        <p:nvPicPr>
          <p:cNvPr id="6" name="INNOMOTICS Logo" descr="INNOMOTICS – A Siemens Business logo">
            <a:extLst>
              <a:ext uri="{FF2B5EF4-FFF2-40B4-BE49-F238E27FC236}">
                <a16:creationId xmlns:a16="http://schemas.microsoft.com/office/drawing/2014/main" id="{C4A01F40-C6CF-D2E4-9288-FE1FEE2E8A9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588500" y="5780178"/>
            <a:ext cx="2032000" cy="685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974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08191F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  <p15:guide id="23" pos="4200">
          <p15:clr>
            <a:srgbClr val="08191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 (light) with headl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>
            <a:extLst>
              <a:ext uri="{FF2B5EF4-FFF2-40B4-BE49-F238E27FC236}">
                <a16:creationId xmlns:a16="http://schemas.microsoft.com/office/drawing/2014/main" id="{44E10281-C212-AB8C-190B-231486C2B01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0"/>
            <a:ext cx="12192000" cy="6858000"/>
          </a:xfrm>
          <a:solidFill>
            <a:schemeClr val="accent3"/>
          </a:solidFill>
        </p:spPr>
        <p:txBody>
          <a:bodyPr lIns="572400" tIns="529200" rIns="572400" bIns="1144800" anchor="b" anchorCtr="0"/>
          <a:lstStyle>
            <a:lvl1pPr algn="ctr">
              <a:defRPr>
                <a:solidFill>
                  <a:schemeClr val="tx2"/>
                </a:solidFill>
                <a:sym typeface="Wingdings" panose="05000000000000000000" pitchFamily="2" charset="2"/>
              </a:defRPr>
            </a:lvl1pPr>
          </a:lstStyle>
          <a:p>
            <a:r>
              <a:rPr lang="en-US" dirty="0"/>
              <a:t>Please insert full size image here. Just use “Insert”  “Images”  “Pictures” for it.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229F07C3-3322-861D-6444-8F5F6AB40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3812552"/>
          </a:xfrm>
          <a:gradFill flip="none" rotWithShape="1">
            <a:gsLst>
              <a:gs pos="15000">
                <a:schemeClr val="bg1">
                  <a:alpha val="60000"/>
                </a:schemeClr>
              </a:gs>
              <a:gs pos="60000">
                <a:schemeClr val="bg1">
                  <a:alpha val="0"/>
                </a:schemeClr>
              </a:gs>
            </a:gsLst>
            <a:lin ang="4680000" scaled="0"/>
            <a:tileRect/>
          </a:gradFill>
        </p:spPr>
        <p:txBody>
          <a:bodyPr wrap="square" lIns="572400" tIns="536400" rIns="1144800" bIns="1717200">
            <a:spAutoFit/>
          </a:bodyPr>
          <a:lstStyle>
            <a:lvl1pPr>
              <a:lnSpc>
                <a:spcPct val="85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85781F7-3257-C26C-AFC1-2FE24314102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B1AE7EF2-D2DC-95A2-987C-60CBCBC162F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5" name="INNOMOTICS Logo" descr="INNOMOTICS logo">
            <a:extLst>
              <a:ext uri="{FF2B5EF4-FFF2-40B4-BE49-F238E27FC236}">
                <a16:creationId xmlns:a16="http://schemas.microsoft.com/office/drawing/2014/main" id="{096990E1-0CBD-CAD4-14AA-6A3F19AECCB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425300" y="6062400"/>
            <a:ext cx="1195200" cy="403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0423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08191F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92B75BE-53B2-80BF-5F29-0F34B9E7A2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1714499"/>
            <a:ext cx="11048999" cy="2980800"/>
          </a:xfrm>
        </p:spPr>
        <p:txBody>
          <a:bodyPr wrap="square" anchor="b" anchorCtr="0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CC5F0C93-F65F-89A7-EBE0-783D091058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" y="4694400"/>
            <a:ext cx="7556499" cy="1018800"/>
          </a:xfrm>
        </p:spPr>
        <p:txBody>
          <a:bodyPr tIns="205200"/>
          <a:lstStyle>
            <a:lvl1pPr>
              <a:lnSpc>
                <a:spcPct val="108000"/>
              </a:lnSpc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Quotation marks">
            <a:extLst>
              <a:ext uri="{FF2B5EF4-FFF2-40B4-BE49-F238E27FC236}">
                <a16:creationId xmlns:a16="http://schemas.microsoft.com/office/drawing/2014/main" id="{7AFF8380-FFEA-A991-C750-1C70434026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ltGray">
          <a:xfrm>
            <a:off x="571500" y="0"/>
            <a:ext cx="1016000" cy="1143000"/>
          </a:xfrm>
          <a:custGeom>
            <a:avLst/>
            <a:gdLst>
              <a:gd name="connsiteX0" fmla="*/ 571501 w 1016000"/>
              <a:gd name="connsiteY0" fmla="*/ 0 h 1143000"/>
              <a:gd name="connsiteX1" fmla="*/ 1016000 w 1016000"/>
              <a:gd name="connsiteY1" fmla="*/ 0 h 1143000"/>
              <a:gd name="connsiteX2" fmla="*/ 1016000 w 1016000"/>
              <a:gd name="connsiteY2" fmla="*/ 1143000 h 1143000"/>
              <a:gd name="connsiteX3" fmla="*/ 571501 w 1016000"/>
              <a:gd name="connsiteY3" fmla="*/ 1143000 h 1143000"/>
              <a:gd name="connsiteX4" fmla="*/ 0 w 1016000"/>
              <a:gd name="connsiteY4" fmla="*/ 0 h 1143000"/>
              <a:gd name="connsiteX5" fmla="*/ 444499 w 1016000"/>
              <a:gd name="connsiteY5" fmla="*/ 0 h 1143000"/>
              <a:gd name="connsiteX6" fmla="*/ 444499 w 1016000"/>
              <a:gd name="connsiteY6" fmla="*/ 1143000 h 1143000"/>
              <a:gd name="connsiteX7" fmla="*/ 0 w 1016000"/>
              <a:gd name="connsiteY7" fmla="*/ 114300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16000" h="1143000">
                <a:moveTo>
                  <a:pt x="571501" y="0"/>
                </a:moveTo>
                <a:lnTo>
                  <a:pt x="1016000" y="0"/>
                </a:lnTo>
                <a:lnTo>
                  <a:pt x="1016000" y="1143000"/>
                </a:lnTo>
                <a:lnTo>
                  <a:pt x="571501" y="1143000"/>
                </a:lnTo>
                <a:close/>
                <a:moveTo>
                  <a:pt x="0" y="0"/>
                </a:moveTo>
                <a:lnTo>
                  <a:pt x="444499" y="0"/>
                </a:lnTo>
                <a:lnTo>
                  <a:pt x="444499" y="1143000"/>
                </a:lnTo>
                <a:lnTo>
                  <a:pt x="0" y="1143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600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DE075F3-BDA7-19DD-5EB4-08C14375F9F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99C345B5-3D0B-7AAB-D13C-BFA57A2240D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3" name="INNOMOTICS Logo" descr="INNOMOTICS – A Siemens Business logo">
            <a:extLst>
              <a:ext uri="{FF2B5EF4-FFF2-40B4-BE49-F238E27FC236}">
                <a16:creationId xmlns:a16="http://schemas.microsoft.com/office/drawing/2014/main" id="{AF961B23-CB8B-E948-38B2-A8F6BC8F6A1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477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08191F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92B75BE-53B2-80BF-5F29-0F34B9E7A2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571500"/>
            <a:ext cx="11048999" cy="4572000"/>
          </a:xfrm>
        </p:spPr>
        <p:txBody>
          <a:bodyPr wrap="square" tIns="432000" bIns="0" anchor="ctr" anchorCtr="1">
            <a:noAutofit/>
          </a:bodyPr>
          <a:lstStyle>
            <a:lvl1pPr algn="ctr">
              <a:lnSpc>
                <a:spcPct val="85000"/>
              </a:lnSpc>
              <a:defRPr sz="11000"/>
            </a:lvl1pPr>
          </a:lstStyle>
          <a:p>
            <a:r>
              <a:rPr lang="en-US" dirty="0"/>
              <a:t>Goodbye formula</a:t>
            </a:r>
            <a:endParaRPr lang="de-DE" dirty="0"/>
          </a:p>
        </p:txBody>
      </p:sp>
      <p:pic>
        <p:nvPicPr>
          <p:cNvPr id="3" name="INNOMOTICS Logo">
            <a:extLst>
              <a:ext uri="{FF2B5EF4-FFF2-40B4-BE49-F238E27FC236}">
                <a16:creationId xmlns:a16="http://schemas.microsoft.com/office/drawing/2014/main" id="{760CD81B-6F96-E7FB-2384-772BAD6C13A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425687" y="6062690"/>
            <a:ext cx="1194813" cy="403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915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F1026F59-C341-219A-95D1-F1AD700E7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0" y="1143000"/>
            <a:ext cx="4064000" cy="1143000"/>
          </a:xfrm>
          <a:solidFill>
            <a:schemeClr val="tx2"/>
          </a:solidFill>
        </p:spPr>
        <p:txBody>
          <a:bodyPr lIns="1015200" anchor="ctr" anchorCtr="0"/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Cont.</a:t>
            </a:r>
            <a:endParaRPr lang="de-DE" dirty="0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9B774D6A-6F81-DA3A-FCE9-BECDE17ED3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1645200"/>
            <a:ext cx="5524500" cy="4071600"/>
          </a:xfrm>
        </p:spPr>
        <p:txBody>
          <a:bodyPr/>
          <a:lstStyle>
            <a:lvl1pPr defTabSz="252000">
              <a:spcAft>
                <a:spcPts val="1200"/>
              </a:spcAft>
              <a:tabLst>
                <a:tab pos="864000" algn="l"/>
              </a:tabLst>
              <a:defRPr/>
            </a:lvl1pPr>
            <a:lvl2pPr marL="0" indent="0" defTabSz="252000">
              <a:spcAft>
                <a:spcPts val="0"/>
              </a:spcAft>
              <a:buFont typeface="Arial" panose="020B0604020202020204" pitchFamily="34" charset="0"/>
              <a:buNone/>
              <a:tabLst>
                <a:tab pos="864000" algn="l"/>
              </a:tabLst>
              <a:defRPr b="1"/>
            </a:lvl2pPr>
            <a:lvl3pPr marL="0" indent="0" defTabSz="2520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64000" algn="l"/>
              </a:tabLst>
              <a:defRPr/>
            </a:lvl3pPr>
            <a:lvl4pPr marL="0" indent="0" defTabSz="25200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  <a:tabLst>
                <a:tab pos="864000" algn="l"/>
              </a:tabLst>
              <a:defRPr/>
            </a:lvl4pPr>
            <a:lvl5pPr marL="324000" indent="-324000">
              <a:spcBef>
                <a:spcPts val="4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4BE5A0F-65E4-97B9-AD32-51C9E41839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B95AAD75-843C-9FE3-5971-26F213BA1C8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8CBF11B-AF76-6387-A33E-FEFA3BC0FF6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032000" y="2857500"/>
            <a:ext cx="2032000" cy="2286000"/>
          </a:xfrm>
        </p:spPr>
        <p:txBody>
          <a:bodyPr lIns="180000" tIns="144000" rIns="180000" bIns="144000"/>
          <a:lstStyle>
            <a:lvl1pPr>
              <a:defRPr/>
            </a:lvl1pPr>
          </a:lstStyle>
          <a:p>
            <a:r>
              <a:rPr lang="de-DE" dirty="0"/>
              <a:t>Optional</a:t>
            </a:r>
            <a:br>
              <a:rPr lang="de-DE" dirty="0"/>
            </a:br>
            <a:r>
              <a:rPr lang="de-DE" dirty="0" err="1"/>
              <a:t>Portait</a:t>
            </a:r>
            <a:endParaRPr lang="de-DE" dirty="0"/>
          </a:p>
        </p:txBody>
      </p:sp>
      <p:pic>
        <p:nvPicPr>
          <p:cNvPr id="3" name="INNOMOTICS Logo" descr="INNOMOTICS – A Siemens Business logo">
            <a:extLst>
              <a:ext uri="{FF2B5EF4-FFF2-40B4-BE49-F238E27FC236}">
                <a16:creationId xmlns:a16="http://schemas.microsoft.com/office/drawing/2014/main" id="{BC0A8C85-49CB-8847-5C53-092BDD07C9D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689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08191F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ph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D6A8C7C-7DFD-15C5-B05F-4DBB14482B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0" y="571501"/>
            <a:ext cx="8572500" cy="1911600"/>
          </a:xfrm>
        </p:spPr>
        <p:txBody>
          <a:bodyPr wrap="square" anchor="b" anchorCtr="0">
            <a:noAutofit/>
          </a:bodyPr>
          <a:lstStyle>
            <a:lvl1pPr algn="l">
              <a:lnSpc>
                <a:spcPct val="93000"/>
              </a:lnSpc>
              <a:defRPr sz="74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1C3C53BD-B101-AD26-4F40-231EE14283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2483101"/>
            <a:ext cx="8572500" cy="2088899"/>
          </a:xfrm>
        </p:spPr>
        <p:txBody>
          <a:bodyPr wrap="square" tIns="252000">
            <a:noAutofit/>
          </a:bodyPr>
          <a:lstStyle>
            <a:lvl1pPr marL="0" indent="0" algn="l">
              <a:buNone/>
              <a:defRPr sz="3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Date">
            <a:extLst>
              <a:ext uri="{FF2B5EF4-FFF2-40B4-BE49-F238E27FC236}">
                <a16:creationId xmlns:a16="http://schemas.microsoft.com/office/drawing/2014/main" id="{ED68D7C4-B1A7-DCD1-7190-71D1FF0112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1500" y="6231600"/>
            <a:ext cx="2476500" cy="288000"/>
          </a:xfrm>
        </p:spPr>
        <p:txBody>
          <a:bodyPr anchor="t" anchorCtr="0"/>
          <a:lstStyle>
            <a:lvl1pPr algn="l">
              <a:defRPr/>
            </a:lvl1pPr>
            <a:lvl2pPr marL="0" indent="0" algn="l">
              <a:buFontTx/>
              <a:buNone/>
              <a:defRPr b="1"/>
            </a:lvl2pPr>
            <a:lvl3pPr marL="0" algn="l">
              <a:lnSpc>
                <a:spcPct val="128000"/>
              </a:lnSpc>
              <a:defRPr sz="1600"/>
            </a:lvl3pPr>
            <a:lvl4pPr marL="0" indent="0" algn="l">
              <a:lnSpc>
                <a:spcPct val="128000"/>
              </a:lnSpc>
              <a:buFont typeface="Arial" panose="020B0604020202020204" pitchFamily="34" charset="0"/>
              <a:buNone/>
              <a:defRPr sz="1600" b="1"/>
            </a:lvl4pPr>
            <a:lvl5pPr marL="0" algn="l">
              <a:lnSpc>
                <a:spcPct val="188000"/>
              </a:lnSpc>
              <a:defRPr sz="1100"/>
            </a:lvl5pPr>
            <a:lvl6pPr marL="0" indent="0" algn="l">
              <a:lnSpc>
                <a:spcPct val="188000"/>
              </a:lnSpc>
              <a:buFont typeface="Arial" panose="020B0604020202020204" pitchFamily="34" charset="0"/>
              <a:buNone/>
              <a:defRPr sz="1100" b="1"/>
            </a:lvl6pPr>
            <a:lvl7pPr marL="0" algn="l">
              <a:defRPr b="0">
                <a:solidFill>
                  <a:schemeClr val="accent5"/>
                </a:solidFill>
              </a:defRPr>
            </a:lvl7pPr>
            <a:lvl8pPr marL="0" indent="0" algn="l">
              <a:lnSpc>
                <a:spcPct val="128000"/>
              </a:lnSpc>
              <a:buFont typeface="Arial" panose="020B0604020202020204" pitchFamily="34" charset="0"/>
              <a:buNone/>
              <a:defRPr sz="1600" b="0">
                <a:solidFill>
                  <a:schemeClr val="accent5"/>
                </a:solidFill>
              </a:defRPr>
            </a:lvl8pPr>
            <a:lvl9pPr marL="0" algn="l">
              <a:lnSpc>
                <a:spcPct val="188000"/>
              </a:lnSpc>
              <a:defRPr sz="11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dirty="0"/>
              <a:t>Presentation date</a:t>
            </a:r>
          </a:p>
        </p:txBody>
      </p:sp>
      <p:pic>
        <p:nvPicPr>
          <p:cNvPr id="4" name="INNOMOTICS Logo" descr="INNOMOTICS logo">
            <a:extLst>
              <a:ext uri="{FF2B5EF4-FFF2-40B4-BE49-F238E27FC236}">
                <a16:creationId xmlns:a16="http://schemas.microsoft.com/office/drawing/2014/main" id="{0C82F160-2A6D-E46B-6F1E-87F3CF0F00F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72500" y="5814972"/>
            <a:ext cx="3048000" cy="66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127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08191F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plit forma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D6A8C7C-7DFD-15C5-B05F-4DBB14482B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67500" y="571500"/>
            <a:ext cx="4953000" cy="2448000"/>
          </a:xfrm>
        </p:spPr>
        <p:txBody>
          <a:bodyPr wrap="square" anchor="b">
            <a:noAutofit/>
          </a:bodyPr>
          <a:lstStyle>
            <a:lvl1pPr algn="l">
              <a:lnSpc>
                <a:spcPct val="93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1C3C53BD-B101-AD26-4F40-231EE14283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67500" y="3019500"/>
            <a:ext cx="4953000" cy="704319"/>
          </a:xfrm>
        </p:spPr>
        <p:txBody>
          <a:bodyPr wrap="square" tIns="324000">
            <a:spAutoFit/>
          </a:bodyPr>
          <a:lstStyle>
            <a:lvl1pPr marL="0" indent="0" algn="l">
              <a:lnSpc>
                <a:spcPct val="113000"/>
              </a:lnSpc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7" name="Title image">
            <a:extLst>
              <a:ext uri="{FF2B5EF4-FFF2-40B4-BE49-F238E27FC236}">
                <a16:creationId xmlns:a16="http://schemas.microsoft.com/office/drawing/2014/main" id="{9F848A1D-B544-B369-8827-6059D43242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6096000" cy="6858000"/>
          </a:xfrm>
          <a:solidFill>
            <a:schemeClr val="accent4"/>
          </a:solidFill>
        </p:spPr>
        <p:txBody>
          <a:bodyPr lIns="572400" tIns="529200" rIns="0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 dirty="0"/>
              <a:t>Please insert title image he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D96365CA-D54F-011B-00F3-9CD4CDF124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67500" y="6286500"/>
            <a:ext cx="1460500" cy="216000"/>
          </a:xfrm>
        </p:spPr>
        <p:txBody>
          <a:bodyPr anchor="t" anchorCtr="0"/>
          <a:lstStyle>
            <a:lvl1pPr algn="l">
              <a:lnSpc>
                <a:spcPct val="132000"/>
              </a:lnSpc>
              <a:defRPr sz="1200"/>
            </a:lvl1pPr>
            <a:lvl2pPr marL="0" indent="0" algn="l">
              <a:lnSpc>
                <a:spcPct val="132000"/>
              </a:lnSpc>
              <a:buFontTx/>
              <a:buNone/>
              <a:defRPr sz="1200" b="1"/>
            </a:lvl2pPr>
            <a:lvl3pPr marL="0" indent="0" algn="l">
              <a:lnSpc>
                <a:spcPct val="143000"/>
              </a:lnSpc>
              <a:buFont typeface="Arial" panose="020B0604020202020204" pitchFamily="34" charset="0"/>
              <a:buNone/>
              <a:defRPr sz="1100"/>
            </a:lvl3pPr>
            <a:lvl4pPr marL="0" indent="0" algn="l">
              <a:lnSpc>
                <a:spcPct val="143000"/>
              </a:lnSpc>
              <a:buFontTx/>
              <a:buNone/>
              <a:defRPr sz="1100" b="1"/>
            </a:lvl4pPr>
            <a:lvl5pPr marL="0" algn="l">
              <a:lnSpc>
                <a:spcPct val="155000"/>
              </a:lnSpc>
              <a:defRPr sz="1000" b="0"/>
            </a:lvl5pPr>
            <a:lvl6pPr marL="0" indent="0" algn="l">
              <a:lnSpc>
                <a:spcPct val="155000"/>
              </a:lnSpc>
              <a:buFont typeface="Arial" panose="020B0604020202020204" pitchFamily="34" charset="0"/>
              <a:buNone/>
              <a:defRPr sz="1000" b="1"/>
            </a:lvl6pPr>
            <a:lvl7pPr marL="0" algn="l">
              <a:lnSpc>
                <a:spcPct val="128000"/>
              </a:lnSpc>
              <a:defRPr sz="1200" b="0">
                <a:solidFill>
                  <a:schemeClr val="accent5"/>
                </a:solidFill>
              </a:defRPr>
            </a:lvl7pPr>
            <a:lvl8pPr marL="0" indent="0" algn="l">
              <a:lnSpc>
                <a:spcPct val="143000"/>
              </a:lnSpc>
              <a:buFont typeface="Arial" panose="020B0604020202020204" pitchFamily="34" charset="0"/>
              <a:buNone/>
              <a:defRPr sz="1100" b="0">
                <a:solidFill>
                  <a:schemeClr val="accent5"/>
                </a:solidFill>
              </a:defRPr>
            </a:lvl8pPr>
            <a:lvl9pPr marL="0" indent="0" algn="l">
              <a:lnSpc>
                <a:spcPct val="155000"/>
              </a:lnSpc>
              <a:buFont typeface="Arial" panose="020B0604020202020204" pitchFamily="34" charset="0"/>
              <a:buNone/>
              <a:tabLst>
                <a:tab pos="1163638" algn="l"/>
              </a:tabLst>
              <a:defRPr sz="10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dirty="0"/>
              <a:t>Presentation date</a:t>
            </a:r>
          </a:p>
        </p:txBody>
      </p:sp>
      <p:pic>
        <p:nvPicPr>
          <p:cNvPr id="5" name="INNOMOTICS Logo" descr="INNOMOTICS logo">
            <a:extLst>
              <a:ext uri="{FF2B5EF4-FFF2-40B4-BE49-F238E27FC236}">
                <a16:creationId xmlns:a16="http://schemas.microsoft.com/office/drawing/2014/main" id="{534BD802-EAA8-14D4-37E5-C7A3487F7A4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88317" y="6022745"/>
            <a:ext cx="2032183" cy="441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4942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08191F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  <p15:guide id="23" pos="4200">
          <p15:clr>
            <a:srgbClr val="08191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7571532F-637A-5AF5-28B6-73CB35502B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ltGray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600" dirty="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7EF23D-9FE7-3CDF-2CAC-12520922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71501" y="457200"/>
            <a:ext cx="7999200" cy="1186200"/>
          </a:xfrm>
        </p:spPr>
        <p:txBody>
          <a:bodyPr>
            <a:noAutofit/>
          </a:bodyPr>
          <a:lstStyle>
            <a:lvl1pPr>
              <a:lnSpc>
                <a:spcPct val="93000"/>
              </a:lnSpc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able of content</a:t>
            </a:r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2777FE00-830D-7844-270A-AF3C8220FD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1500" y="1645200"/>
            <a:ext cx="444500" cy="4071600"/>
          </a:xfrm>
        </p:spPr>
        <p:txBody>
          <a:bodyPr lIns="0" rIns="0"/>
          <a:lstStyle>
            <a:lvl1pPr algn="l">
              <a:lnSpc>
                <a:spcPct val="114000"/>
              </a:lnSpc>
              <a:spcAft>
                <a:spcPts val="2100"/>
              </a:spcAft>
              <a:tabLst/>
              <a:defRPr>
                <a:solidFill>
                  <a:schemeClr val="bg2"/>
                </a:solidFill>
              </a:defRPr>
            </a:lvl1pPr>
            <a:lvl2pPr marL="0" indent="0" algn="l">
              <a:lnSpc>
                <a:spcPct val="114000"/>
              </a:lnSpc>
              <a:spcAft>
                <a:spcPts val="210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2pPr>
            <a:lvl3pPr marL="0" indent="0" algn="l">
              <a:lnSpc>
                <a:spcPct val="114000"/>
              </a:lnSpc>
              <a:spcAft>
                <a:spcPts val="2100"/>
              </a:spcAft>
              <a:buNone/>
              <a:tabLst/>
              <a:defRPr>
                <a:solidFill>
                  <a:schemeClr val="bg1"/>
                </a:solidFill>
              </a:defRPr>
            </a:lvl3pPr>
            <a:lvl4pPr marL="0" indent="0" algn="l">
              <a:lnSpc>
                <a:spcPct val="114000"/>
              </a:lnSpc>
              <a:spcAft>
                <a:spcPts val="210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4pPr>
            <a:lvl5pPr marL="0" indent="0" algn="l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5pPr>
            <a:lvl6pPr marL="0" indent="0" algn="l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6pPr>
            <a:lvl7pPr marL="0" indent="0" algn="l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spcAft>
                <a:spcPts val="70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 algn="r"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02</a:t>
            </a:r>
          </a:p>
          <a:p>
            <a:pPr lvl="2"/>
            <a:r>
              <a:rPr lang="en-US" dirty="0"/>
              <a:t>03</a:t>
            </a:r>
          </a:p>
          <a:p>
            <a:pPr lvl="3"/>
            <a:r>
              <a:rPr lang="en-US" dirty="0"/>
              <a:t>04</a:t>
            </a:r>
          </a:p>
          <a:p>
            <a:pPr lvl="4"/>
            <a:r>
              <a:rPr lang="en-US" dirty="0"/>
              <a:t>05</a:t>
            </a:r>
          </a:p>
          <a:p>
            <a:pPr lvl="5"/>
            <a:r>
              <a:rPr lang="en-US" dirty="0"/>
              <a:t>06</a:t>
            </a:r>
          </a:p>
          <a:p>
            <a:pPr lvl="6"/>
            <a:r>
              <a:rPr lang="en-US" dirty="0"/>
              <a:t>07</a:t>
            </a:r>
          </a:p>
          <a:p>
            <a:pPr lvl="7"/>
            <a:r>
              <a:rPr lang="en-US" dirty="0"/>
              <a:t>08</a:t>
            </a:r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56836E24-7031-EF31-67A4-BA5D94DD7C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15999" y="1645200"/>
            <a:ext cx="7554702" cy="4069800"/>
          </a:xfrm>
        </p:spPr>
        <p:txBody>
          <a:bodyPr lIns="442800" rIns="0"/>
          <a:lstStyle>
            <a:lvl1pPr algn="l">
              <a:lnSpc>
                <a:spcPct val="114000"/>
              </a:lnSpc>
              <a:spcAft>
                <a:spcPts val="2100"/>
              </a:spcAft>
              <a:tabLst/>
              <a:defRPr>
                <a:solidFill>
                  <a:schemeClr val="bg1"/>
                </a:solidFill>
              </a:defRPr>
            </a:lvl1pPr>
            <a:lvl2pPr marL="0" indent="0" algn="l">
              <a:lnSpc>
                <a:spcPct val="114000"/>
              </a:lnSpc>
              <a:spcAft>
                <a:spcPts val="210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2pPr>
            <a:lvl3pPr marL="0" indent="0" algn="l">
              <a:lnSpc>
                <a:spcPct val="114000"/>
              </a:lnSpc>
              <a:spcAft>
                <a:spcPts val="2100"/>
              </a:spcAft>
              <a:buNone/>
              <a:tabLst/>
              <a:defRPr>
                <a:solidFill>
                  <a:schemeClr val="bg2"/>
                </a:solidFill>
              </a:defRPr>
            </a:lvl3pPr>
            <a:lvl4pPr marL="0" indent="0" algn="l">
              <a:lnSpc>
                <a:spcPct val="114000"/>
              </a:lnSpc>
              <a:spcAft>
                <a:spcPts val="210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4pPr>
            <a:lvl5pPr marL="0" indent="0" algn="l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indent="0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7pPr>
            <a:lvl8pPr marL="0" indent="0">
              <a:spcAft>
                <a:spcPts val="70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8pPr>
            <a:lvl9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47A85A69-4A48-E16D-0DC6-B54E521DF0D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718641E0-2E38-9FD9-673C-431FB5E36F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2" name="INNOMOTICS Logo" descr="INNOMOTICS logo">
            <a:extLst>
              <a:ext uri="{FF2B5EF4-FFF2-40B4-BE49-F238E27FC236}">
                <a16:creationId xmlns:a16="http://schemas.microsoft.com/office/drawing/2014/main" id="{CA73D3B7-AE3A-9317-8D5A-9EA46525E74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3205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E1F000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08191F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71">
          <p15:clr>
            <a:srgbClr val="E1F000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  <p15:guide id="24" pos="5405">
          <p15:clr>
            <a:srgbClr val="E1F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bold, conten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D4001BA-D84F-2C69-9D93-0B61E5E0F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89600"/>
            <a:ext cx="7556500" cy="1224000"/>
          </a:xfrm>
        </p:spPr>
        <p:txBody>
          <a:bodyPr/>
          <a:lstStyle>
            <a:lvl1pPr>
              <a:lnSpc>
                <a:spcPct val="93000"/>
              </a:lnSpc>
              <a:defRPr sz="36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A64283F3-0A58-A18C-74D0-2299AEA1121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78738" y="2059200"/>
            <a:ext cx="7556500" cy="3655800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 marL="324000" indent="-324000">
              <a:spcAft>
                <a:spcPts val="6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2pPr>
            <a:lvl3pPr>
              <a:spcAft>
                <a:spcPts val="600"/>
              </a:spcAft>
              <a:defRPr/>
            </a:lvl3pPr>
            <a:lvl4pPr marL="648000" indent="-324000">
              <a:spcAft>
                <a:spcPts val="6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4pPr>
            <a:lvl5pPr>
              <a:spcAft>
                <a:spcPts val="600"/>
              </a:spcAft>
              <a:defRPr/>
            </a:lvl5pPr>
            <a:lvl6pPr marL="324000" indent="-324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lvl6pPr>
            <a:lvl7pPr marL="324000" indent="0">
              <a:buFont typeface="Arial" panose="020B0604020202020204" pitchFamily="34" charset="0"/>
              <a:buNone/>
              <a:defRPr/>
            </a:lvl7pPr>
            <a:lvl8pPr marL="648000" indent="-324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lvl8pPr>
            <a:lvl9pPr marL="648000" indent="0"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01FA42B-D81A-DDAD-8F42-34354E2AC37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1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Footer">
            <a:extLst>
              <a:ext uri="{FF2B5EF4-FFF2-40B4-BE49-F238E27FC236}">
                <a16:creationId xmlns:a16="http://schemas.microsoft.com/office/drawing/2014/main" id="{3947E6DD-018A-CD8F-1672-131805CD09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5" name="INNOMOTICS Logo" descr="INNOMOTICS logo">
            <a:extLst>
              <a:ext uri="{FF2B5EF4-FFF2-40B4-BE49-F238E27FC236}">
                <a16:creationId xmlns:a16="http://schemas.microsoft.com/office/drawing/2014/main" id="{C91A02A1-6DF8-CCFF-CE47-F19AF05C5B5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748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585C3481-23ED-37F6-AA07-6345FCCC0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A64283F3-0A58-A18C-74D0-2299AEA1121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78738" y="1638000"/>
            <a:ext cx="7556500" cy="4077000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 marL="324000" indent="-324000">
              <a:spcAft>
                <a:spcPts val="6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2pPr>
            <a:lvl3pPr>
              <a:spcAft>
                <a:spcPts val="600"/>
              </a:spcAft>
              <a:defRPr/>
            </a:lvl3pPr>
            <a:lvl4pPr marL="648000" indent="-324000">
              <a:spcAft>
                <a:spcPts val="6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4pPr>
            <a:lvl5pPr>
              <a:spcAft>
                <a:spcPts val="600"/>
              </a:spcAft>
              <a:defRPr/>
            </a:lvl5pPr>
            <a:lvl6pPr marL="324000" indent="-324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lvl6pPr>
            <a:lvl7pPr marL="324000" indent="0">
              <a:buFont typeface="Arial" panose="020B0604020202020204" pitchFamily="34" charset="0"/>
              <a:buNone/>
              <a:defRPr/>
            </a:lvl7pPr>
            <a:lvl8pPr marL="648000" indent="-324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lvl8pPr>
            <a:lvl9pPr marL="648000" indent="0"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01FA42B-D81A-DDAD-8F42-34354E2AC37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1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Footer">
            <a:extLst>
              <a:ext uri="{FF2B5EF4-FFF2-40B4-BE49-F238E27FC236}">
                <a16:creationId xmlns:a16="http://schemas.microsoft.com/office/drawing/2014/main" id="{3947E6DD-018A-CD8F-1672-131805CD09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2" name="INNOMOTICS Logo" descr="INNOMOTICS logo">
            <a:extLst>
              <a:ext uri="{FF2B5EF4-FFF2-40B4-BE49-F238E27FC236}">
                <a16:creationId xmlns:a16="http://schemas.microsoft.com/office/drawing/2014/main" id="{409F557B-F29E-EC35-E210-1D3749C8CF5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970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aph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F603AD2-4EFD-707B-7A91-76B44547F6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298800"/>
            <a:ext cx="6540500" cy="2386800"/>
          </a:xfrm>
        </p:spPr>
        <p:txBody>
          <a:bodyPr wrap="none" bIns="0" anchor="t" anchorCtr="0"/>
          <a:lstStyle>
            <a:lvl1pPr>
              <a:lnSpc>
                <a:spcPct val="85000"/>
              </a:lnSpc>
              <a:defRPr sz="19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No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E2E3FE66-5DD9-65BA-9709-6F10C04C38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2685600"/>
            <a:ext cx="6540500" cy="3031200"/>
          </a:xfrm>
        </p:spPr>
        <p:txBody>
          <a:bodyPr wrap="square" tIns="57600">
            <a:noAutofit/>
          </a:bodyPr>
          <a:lstStyle>
            <a:lvl1pPr marL="0" indent="0">
              <a:lnSpc>
                <a:spcPct val="93000"/>
              </a:lnSpc>
              <a:buNone/>
              <a:defRPr sz="6000" b="1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92CEA60-8CEB-C524-0818-5519548238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1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A1A1D4A1-F954-3F57-7C48-DF6DAA075B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5" name="INNOMOTICS Logo" descr="INNOMOTICS logo">
            <a:extLst>
              <a:ext uri="{FF2B5EF4-FFF2-40B4-BE49-F238E27FC236}">
                <a16:creationId xmlns:a16="http://schemas.microsoft.com/office/drawing/2014/main" id="{CB3C0B75-3D54-3808-DD61-DE7C976A482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285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08191F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08191F"/>
          </p15:clr>
        </p15:guide>
        <p15:guide id="16" orient="horz" pos="1800">
          <p15:clr>
            <a:srgbClr val="08191F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7571532F-637A-5AF5-28B6-73CB35502B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ltGray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7EF23D-9FE7-3CDF-2CAC-12520922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71501" y="457200"/>
            <a:ext cx="7999200" cy="1186200"/>
          </a:xfrm>
        </p:spPr>
        <p:txBody>
          <a:bodyPr>
            <a:noAutofit/>
          </a:bodyPr>
          <a:lstStyle>
            <a:lvl1pPr>
              <a:lnSpc>
                <a:spcPct val="93000"/>
              </a:lnSpc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able of content</a:t>
            </a:r>
            <a:endParaRPr lang="de-DE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2777FE00-830D-7844-270A-AF3C8220FD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1500" y="1645200"/>
            <a:ext cx="444500" cy="4071600"/>
          </a:xfrm>
        </p:spPr>
        <p:txBody>
          <a:bodyPr lIns="0" rIns="0"/>
          <a:lstStyle>
            <a:lvl1pPr algn="l">
              <a:lnSpc>
                <a:spcPct val="114000"/>
              </a:lnSpc>
              <a:spcAft>
                <a:spcPts val="2100"/>
              </a:spcAft>
              <a:tabLst/>
              <a:defRPr>
                <a:solidFill>
                  <a:schemeClr val="bg2"/>
                </a:solidFill>
              </a:defRPr>
            </a:lvl1pPr>
            <a:lvl2pPr marL="0" indent="0" algn="l">
              <a:lnSpc>
                <a:spcPct val="114000"/>
              </a:lnSpc>
              <a:spcAft>
                <a:spcPts val="210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2pPr>
            <a:lvl3pPr marL="0" indent="0" algn="l">
              <a:lnSpc>
                <a:spcPct val="114000"/>
              </a:lnSpc>
              <a:spcAft>
                <a:spcPts val="2100"/>
              </a:spcAft>
              <a:buNone/>
              <a:tabLst/>
              <a:defRPr>
                <a:solidFill>
                  <a:schemeClr val="bg1"/>
                </a:solidFill>
              </a:defRPr>
            </a:lvl3pPr>
            <a:lvl4pPr marL="0" indent="0" algn="l">
              <a:lnSpc>
                <a:spcPct val="114000"/>
              </a:lnSpc>
              <a:spcAft>
                <a:spcPts val="210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4pPr>
            <a:lvl5pPr marL="0" indent="0" algn="l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5pPr>
            <a:lvl6pPr marL="0" indent="0" algn="l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6pPr>
            <a:lvl7pPr marL="0" indent="0" algn="l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spcAft>
                <a:spcPts val="70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 algn="r"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02</a:t>
            </a:r>
          </a:p>
          <a:p>
            <a:pPr lvl="2"/>
            <a:r>
              <a:rPr lang="en-US" dirty="0"/>
              <a:t>03</a:t>
            </a:r>
          </a:p>
          <a:p>
            <a:pPr lvl="3"/>
            <a:r>
              <a:rPr lang="en-US" dirty="0"/>
              <a:t>04</a:t>
            </a:r>
          </a:p>
          <a:p>
            <a:pPr lvl="4"/>
            <a:r>
              <a:rPr lang="en-US" dirty="0"/>
              <a:t>05</a:t>
            </a:r>
          </a:p>
          <a:p>
            <a:pPr lvl="5"/>
            <a:r>
              <a:rPr lang="en-US" dirty="0"/>
              <a:t>06</a:t>
            </a:r>
          </a:p>
          <a:p>
            <a:pPr lvl="6"/>
            <a:r>
              <a:rPr lang="en-US" dirty="0"/>
              <a:t>07</a:t>
            </a:r>
          </a:p>
          <a:p>
            <a:pPr lvl="7"/>
            <a:r>
              <a:rPr lang="en-US" dirty="0"/>
              <a:t>08</a:t>
            </a:r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56836E24-7031-EF31-67A4-BA5D94DD7C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15999" y="1645200"/>
            <a:ext cx="7554702" cy="4069800"/>
          </a:xfrm>
        </p:spPr>
        <p:txBody>
          <a:bodyPr lIns="442800" rIns="0"/>
          <a:lstStyle>
            <a:lvl1pPr algn="l">
              <a:lnSpc>
                <a:spcPct val="114000"/>
              </a:lnSpc>
              <a:spcAft>
                <a:spcPts val="2100"/>
              </a:spcAft>
              <a:tabLst/>
              <a:defRPr>
                <a:solidFill>
                  <a:schemeClr val="bg1"/>
                </a:solidFill>
              </a:defRPr>
            </a:lvl1pPr>
            <a:lvl2pPr marL="0" indent="0" algn="l">
              <a:lnSpc>
                <a:spcPct val="114000"/>
              </a:lnSpc>
              <a:spcAft>
                <a:spcPts val="210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2pPr>
            <a:lvl3pPr marL="0" indent="0" algn="l">
              <a:lnSpc>
                <a:spcPct val="114000"/>
              </a:lnSpc>
              <a:spcAft>
                <a:spcPts val="2100"/>
              </a:spcAft>
              <a:buNone/>
              <a:tabLst/>
              <a:defRPr>
                <a:solidFill>
                  <a:schemeClr val="bg2"/>
                </a:solidFill>
              </a:defRPr>
            </a:lvl3pPr>
            <a:lvl4pPr marL="0" indent="0" algn="l">
              <a:lnSpc>
                <a:spcPct val="114000"/>
              </a:lnSpc>
              <a:spcAft>
                <a:spcPts val="210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4pPr>
            <a:lvl5pPr marL="0" indent="0" algn="l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indent="0">
              <a:lnSpc>
                <a:spcPct val="114000"/>
              </a:lnSpc>
              <a:spcAft>
                <a:spcPts val="7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7pPr>
            <a:lvl8pPr marL="0" indent="0">
              <a:spcAft>
                <a:spcPts val="70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8pPr>
            <a:lvl9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47A85A69-4A48-E16D-0DC6-B54E521DF0D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718641E0-2E38-9FD9-673C-431FB5E36F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4" name="INNOMOTICS Logo" descr="INNOMOTICS – A Siemens Business logo">
            <a:extLst>
              <a:ext uri="{FF2B5EF4-FFF2-40B4-BE49-F238E27FC236}">
                <a16:creationId xmlns:a16="http://schemas.microsoft.com/office/drawing/2014/main" id="{1F86D5C1-35E7-55E8-2690-7FF6125E3F8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320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E1F000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08191F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71">
          <p15:clr>
            <a:srgbClr val="E1F000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  <p15:guide id="24" pos="5405">
          <p15:clr>
            <a:srgbClr val="E1F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aphic spli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358ADDB2-D9AA-DE90-6A32-4D067F1A94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ltGray">
          <a:xfrm>
            <a:off x="9152000" y="0"/>
            <a:ext cx="304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6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603AD2-4EFD-707B-7A91-76B44547F6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0" y="576262"/>
            <a:ext cx="2476500" cy="1476000"/>
          </a:xfrm>
        </p:spPr>
        <p:txBody>
          <a:bodyPr wrap="none" bIns="0" anchor="b" anchorCtr="0"/>
          <a:lstStyle>
            <a:lvl1pPr algn="r">
              <a:lnSpc>
                <a:spcPct val="85000"/>
              </a:lnSpc>
              <a:defRPr sz="12800" spc="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No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E2E3FE66-5DD9-65BA-9709-6F10C04C38F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571500" y="1029600"/>
            <a:ext cx="7556500" cy="4685400"/>
          </a:xfrm>
        </p:spPr>
        <p:txBody>
          <a:bodyPr wrap="square">
            <a:noAutofit/>
          </a:bodyPr>
          <a:lstStyle>
            <a:lvl1pPr marL="0" indent="0">
              <a:lnSpc>
                <a:spcPct val="93000"/>
              </a:lnSpc>
              <a:buNone/>
              <a:defRPr sz="6000" b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54637F02-DCC0-D5FF-2820-B159782CB3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83CD0D0C-BB9E-32E9-5531-37F08FC692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5" name="INNOMOTICS Logo" descr="INNOMOTICS logo">
            <a:extLst>
              <a:ext uri="{FF2B5EF4-FFF2-40B4-BE49-F238E27FC236}">
                <a16:creationId xmlns:a16="http://schemas.microsoft.com/office/drawing/2014/main" id="{460D2DA8-DB4C-9C75-CAF5-C64785F8DA7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4582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08191F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E1F000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  <p15:guide id="23" pos="6120">
          <p15:clr>
            <a:srgbClr val="08191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F603AD2-4EFD-707B-7A91-76B44547F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7200"/>
            <a:ext cx="5524500" cy="2556000"/>
          </a:xfrm>
        </p:spPr>
        <p:txBody>
          <a:bodyPr wrap="square" anchor="b" anchorCtr="0">
            <a:noAutofit/>
          </a:bodyPr>
          <a:lstStyle>
            <a:lvl1pPr algn="l">
              <a:lnSpc>
                <a:spcPct val="93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E901C57D-EBF2-2213-25EB-7C5BD7547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571500" y="3013200"/>
            <a:ext cx="5524500" cy="2700000"/>
          </a:xfrm>
        </p:spPr>
        <p:txBody>
          <a:bodyPr tIns="36000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tx1"/>
                </a:solidFill>
              </a:defRPr>
            </a:lvl2pPr>
            <a:lvl3pPr marL="32400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3pPr>
            <a:lvl4pPr marL="648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tx1"/>
                </a:solidFill>
              </a:defRPr>
            </a:lvl4pPr>
            <a:lvl5pPr marL="64800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5pPr>
            <a:lvl6pPr marL="972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tx1"/>
                </a:solidFill>
              </a:defRPr>
            </a:lvl6pPr>
            <a:lvl7pPr marL="97200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7pPr>
            <a:lvl8pPr marL="1296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tx1"/>
                </a:solidFill>
              </a:defRPr>
            </a:lvl8pPr>
            <a:lvl9pPr marL="129600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7E454802-2D5A-A0E2-7BBB-A392F3767B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black">
          <a:xfrm>
            <a:off x="7111999" y="1080000"/>
            <a:ext cx="4508501" cy="4636800"/>
          </a:xfrm>
        </p:spPr>
        <p:txBody>
          <a:bodyPr l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2pPr>
            <a:lvl3pPr marL="324000" indent="0"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3pPr>
            <a:lvl4pPr marL="648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4pPr>
            <a:lvl5pPr marL="648000" indent="0"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5pPr>
            <a:lvl6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6pPr>
            <a:lvl7pPr marL="324000" indent="0">
              <a:buFont typeface="Arial" panose="020B0604020202020204" pitchFamily="34" charset="0"/>
              <a:buNone/>
              <a:defRPr b="1"/>
            </a:lvl7pPr>
            <a:lvl8pPr marL="648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8pPr>
            <a:lvl9pPr marL="648000" indent="0">
              <a:buFont typeface="Arial" panose="020B0604020202020204" pitchFamily="34" charset="0"/>
              <a:buNone/>
              <a:defRPr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6C25647-0631-841A-3B26-91A803761E2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F8A476BA-39C6-C0AC-44F7-41CCD3EF64E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3" name="INNOMOTICS Logo">
            <a:extLst>
              <a:ext uri="{FF2B5EF4-FFF2-40B4-BE49-F238E27FC236}">
                <a16:creationId xmlns:a16="http://schemas.microsoft.com/office/drawing/2014/main" id="{5E53325C-6024-BC9E-41AE-5844479A38C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04500" y="6245106"/>
            <a:ext cx="1016000" cy="22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8214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E1F000"/>
          </p15:clr>
        </p15:guide>
        <p15:guide id="7" pos="4480">
          <p15:clr>
            <a:srgbClr val="E1F000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E1F000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bold,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B7BF466-15E3-2155-DEC9-C88110A19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89600"/>
            <a:ext cx="6096000" cy="1224000"/>
          </a:xfrm>
        </p:spPr>
        <p:txBody>
          <a:bodyPr/>
          <a:lstStyle>
            <a:lvl1pPr>
              <a:lnSpc>
                <a:spcPct val="93000"/>
              </a:lnSpc>
              <a:defRPr sz="36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A9105330-A92B-B488-D2DD-FAC8585118A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1500" y="2059200"/>
            <a:ext cx="6094800" cy="3655800"/>
          </a:xfrm>
        </p:spPr>
        <p:txBody>
          <a:bodyPr t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A3706180-62B4-9897-E08A-94B6439BEC8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7112000" y="0"/>
            <a:ext cx="5080000" cy="6857999"/>
          </a:xfrm>
          <a:solidFill>
            <a:schemeClr val="accent3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her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B0F4D0D5-43AF-3D08-2EF6-AB5DE4CB23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6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806B0F86-3B1D-F49C-7824-E8A27ABD6E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1018800" y="6285600"/>
            <a:ext cx="5648700" cy="180000"/>
          </a:xfrm>
        </p:spPr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4" name="INNOMOTICS Logo" descr="INNOMOTICS logo">
            <a:extLst>
              <a:ext uri="{FF2B5EF4-FFF2-40B4-BE49-F238E27FC236}">
                <a16:creationId xmlns:a16="http://schemas.microsoft.com/office/drawing/2014/main" id="{83854A2B-C569-2595-21B6-F29F57BA92E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605300" y="6246000"/>
            <a:ext cx="1015200" cy="2196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523752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08191F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  <p15:guide id="23" pos="4200">
          <p15:clr>
            <a:srgbClr val="08191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B49DBFED-FB33-87A3-BF56-FB31FD2FE8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04000"/>
            <a:ext cx="6096000" cy="640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A9105330-A92B-B488-D2DD-FAC8585118A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1500" y="1638000"/>
            <a:ext cx="6094800" cy="4078800"/>
          </a:xfrm>
        </p:spPr>
        <p:txBody>
          <a:bodyPr t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B0F4D0D5-43AF-3D08-2EF6-AB5DE4CB23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6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806B0F86-3B1D-F49C-7824-E8A27ABD6E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1018800" y="6285600"/>
            <a:ext cx="5648700" cy="180000"/>
          </a:xfrm>
        </p:spPr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A3706180-62B4-9897-E08A-94B6439BEC8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7112000" y="0"/>
            <a:ext cx="5080000" cy="6857999"/>
          </a:xfrm>
          <a:solidFill>
            <a:schemeClr val="accent3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here</a:t>
            </a:r>
          </a:p>
        </p:txBody>
      </p:sp>
      <p:sp>
        <p:nvSpPr>
          <p:cNvPr id="2" name="INNOMOTICS Logo" descr="INNOMOTICS logo">
            <a:extLst>
              <a:ext uri="{FF2B5EF4-FFF2-40B4-BE49-F238E27FC236}">
                <a16:creationId xmlns:a16="http://schemas.microsoft.com/office/drawing/2014/main" id="{2A6DC4B6-D9B1-8019-E561-74EF797468D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605300" y="6246000"/>
            <a:ext cx="1015200" cy="2196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394099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08191F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  <p15:guide id="23" pos="4200">
          <p15:clr>
            <a:srgbClr val="08191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B7BF466-15E3-2155-DEC9-C88110A19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72400"/>
            <a:ext cx="5080000" cy="2444400"/>
          </a:xfrm>
        </p:spPr>
        <p:txBody>
          <a:bodyPr wrap="square" anchor="b" anchorCtr="0">
            <a:noAutofit/>
          </a:bodyPr>
          <a:lstStyle>
            <a:lvl1pPr>
              <a:lnSpc>
                <a:spcPct val="93000"/>
              </a:lnSpc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F054ECB7-8091-438B-D643-BF0F1B5844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3016800"/>
            <a:ext cx="5080000" cy="2700000"/>
          </a:xfrm>
        </p:spPr>
        <p:txBody>
          <a:bodyPr tIns="342000"/>
          <a:lstStyle>
            <a:lvl1pPr>
              <a:defRPr sz="1800"/>
            </a:lvl1pPr>
            <a:lvl2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/>
            </a:lvl2pPr>
            <a:lvl3pPr marL="324000" indent="0">
              <a:buFont typeface="Arial" panose="020B0604020202020204" pitchFamily="34" charset="0"/>
              <a:buNone/>
              <a:defRPr sz="1800" b="1"/>
            </a:lvl3pPr>
            <a:lvl4pPr marL="648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/>
            </a:lvl4pPr>
            <a:lvl5pPr marL="648000" indent="0">
              <a:buFont typeface="Arial" panose="020B0604020202020204" pitchFamily="34" charset="0"/>
              <a:buNone/>
              <a:defRPr sz="1800" b="1"/>
            </a:lvl5pPr>
            <a:lvl6pPr marL="972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/>
            </a:lvl6pPr>
            <a:lvl7pPr marL="972000" indent="0">
              <a:buFont typeface="Arial" panose="020B0604020202020204" pitchFamily="34" charset="0"/>
              <a:buNone/>
              <a:defRPr sz="1800" b="1"/>
            </a:lvl7pPr>
            <a:lvl8pPr marL="1296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/>
            </a:lvl8pPr>
            <a:lvl9pPr marL="1296000" indent="0">
              <a:buFont typeface="Arial" panose="020B0604020202020204" pitchFamily="34" charset="0"/>
              <a:buNone/>
              <a:defRPr sz="18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CE55EE0-7CDF-B3DA-DB53-88B8D07AE4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BF2A1379-7D7B-B444-2D94-69085141D9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1018800" y="6285600"/>
            <a:ext cx="4632700" cy="180000"/>
          </a:xfrm>
        </p:spPr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A3706180-62B4-9897-E08A-94B6439BEC8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097200" y="0"/>
            <a:ext cx="6094800" cy="2286000"/>
          </a:xfrm>
          <a:solidFill>
            <a:schemeClr val="accent3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1 here</a:t>
            </a:r>
          </a:p>
        </p:txBody>
      </p:sp>
      <p:sp>
        <p:nvSpPr>
          <p:cNvPr id="4" name="Picture">
            <a:extLst>
              <a:ext uri="{FF2B5EF4-FFF2-40B4-BE49-F238E27FC236}">
                <a16:creationId xmlns:a16="http://schemas.microsoft.com/office/drawing/2014/main" id="{A93A0660-0DFC-009B-63E9-0B4753AC85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096000" y="2286000"/>
            <a:ext cx="6096000" cy="2286000"/>
          </a:xfrm>
          <a:solidFill>
            <a:schemeClr val="accent4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2 here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4F2DC2CD-2BEA-86DE-24FD-F7153A0D1E7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097200" y="4572000"/>
            <a:ext cx="6094800" cy="2286000"/>
          </a:xfrm>
          <a:solidFill>
            <a:schemeClr val="accent3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3 here</a:t>
            </a:r>
          </a:p>
        </p:txBody>
      </p:sp>
      <p:sp>
        <p:nvSpPr>
          <p:cNvPr id="6" name="INNOMOTICS Logo" descr="INNOMOTICS logo">
            <a:extLst>
              <a:ext uri="{FF2B5EF4-FFF2-40B4-BE49-F238E27FC236}">
                <a16:creationId xmlns:a16="http://schemas.microsoft.com/office/drawing/2014/main" id="{F3E6BFC8-FC6A-27EE-CB45-05ECC624F7F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 hasCustomPrompt="1"/>
          </p:nvPr>
        </p:nvSpPr>
        <p:spPr>
          <a:xfrm>
            <a:off x="10605300" y="6246000"/>
            <a:ext cx="1015200" cy="2196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091743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08191F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E1F000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E1F000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  <p15:guide id="23" pos="3560">
          <p15:clr>
            <a:srgbClr val="08191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7044E232-20C0-20AC-CC81-296A902E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Picture">
            <a:extLst>
              <a:ext uri="{FF2B5EF4-FFF2-40B4-BE49-F238E27FC236}">
                <a16:creationId xmlns:a16="http://schemas.microsoft.com/office/drawing/2014/main" id="{DD962059-0136-FBFC-344F-57B8BCFDC2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1714500"/>
            <a:ext cx="4064400" cy="3429000"/>
          </a:xfrm>
          <a:solidFill>
            <a:schemeClr val="accent3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1 here</a:t>
            </a:r>
          </a:p>
        </p:txBody>
      </p:sp>
      <p:sp>
        <p:nvSpPr>
          <p:cNvPr id="18" name="Picture">
            <a:extLst>
              <a:ext uri="{FF2B5EF4-FFF2-40B4-BE49-F238E27FC236}">
                <a16:creationId xmlns:a16="http://schemas.microsoft.com/office/drawing/2014/main" id="{C1F99CC7-4311-7666-EEE0-5C5F63C16A9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064400" y="1714500"/>
            <a:ext cx="4064400" cy="3429000"/>
          </a:xfrm>
          <a:solidFill>
            <a:schemeClr val="accent4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2 here</a:t>
            </a:r>
          </a:p>
        </p:txBody>
      </p:sp>
      <p:sp>
        <p:nvSpPr>
          <p:cNvPr id="19" name="Picture">
            <a:extLst>
              <a:ext uri="{FF2B5EF4-FFF2-40B4-BE49-F238E27FC236}">
                <a16:creationId xmlns:a16="http://schemas.microsoft.com/office/drawing/2014/main" id="{E6B1B565-E7FB-A83C-6A55-34FF0E0E78D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ltGray">
          <a:xfrm>
            <a:off x="8127600" y="1714500"/>
            <a:ext cx="4064400" cy="3429000"/>
          </a:xfrm>
          <a:solidFill>
            <a:schemeClr val="accent3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3 here</a:t>
            </a:r>
          </a:p>
        </p:txBody>
      </p:sp>
      <p:sp>
        <p:nvSpPr>
          <p:cNvPr id="20" name="Text">
            <a:extLst>
              <a:ext uri="{FF2B5EF4-FFF2-40B4-BE49-F238E27FC236}">
                <a16:creationId xmlns:a16="http://schemas.microsoft.com/office/drawing/2014/main" id="{09EFF7DA-D6B7-9C8A-F356-FD4DCFED8E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5143500"/>
            <a:ext cx="4064400" cy="571500"/>
          </a:xfrm>
        </p:spPr>
        <p:txBody>
          <a:bodyPr lIns="572400" tIns="244800" rIns="572400"/>
          <a:lstStyle>
            <a:lvl1pPr>
              <a:spcAft>
                <a:spcPts val="400"/>
              </a:spcAft>
              <a:defRPr sz="1600" b="0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2pPr>
            <a:lvl3pPr marL="288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3pPr>
            <a:lvl4pPr marL="288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4pPr>
            <a:lvl5pPr marL="576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5pPr>
            <a:lvl6pPr marL="576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6pPr>
            <a:lvl7pPr marL="864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7pPr>
            <a:lvl8pPr marL="864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8pPr>
            <a:lvl9pPr marL="1152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9pPr>
          </a:lstStyle>
          <a:p>
            <a:pPr lvl="0"/>
            <a:r>
              <a:rPr lang="en-US" dirty="0"/>
              <a:t>Short text line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12A2F516-0C61-6E3C-A972-29D44C60D8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4400" y="5143500"/>
            <a:ext cx="4064400" cy="571500"/>
          </a:xfrm>
        </p:spPr>
        <p:txBody>
          <a:bodyPr lIns="572400" tIns="244800" rIns="572400"/>
          <a:lstStyle>
            <a:lvl1pPr>
              <a:spcAft>
                <a:spcPts val="400"/>
              </a:spcAft>
              <a:defRPr sz="1600" b="0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2pPr>
            <a:lvl3pPr marL="288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3pPr>
            <a:lvl4pPr marL="288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4pPr>
            <a:lvl5pPr marL="576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5pPr>
            <a:lvl6pPr marL="576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6pPr>
            <a:lvl7pPr marL="864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7pPr>
            <a:lvl8pPr marL="864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8pPr>
            <a:lvl9pPr marL="1152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9pPr>
          </a:lstStyle>
          <a:p>
            <a:pPr lvl="0"/>
            <a:r>
              <a:rPr lang="en-US" dirty="0"/>
              <a:t>Short text line</a:t>
            </a: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64B3DC57-919D-8FB6-F4A4-19AA8E5D26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7600" y="5143500"/>
            <a:ext cx="4064400" cy="571500"/>
          </a:xfrm>
        </p:spPr>
        <p:txBody>
          <a:bodyPr lIns="572400" tIns="244800" rIns="572400"/>
          <a:lstStyle>
            <a:lvl1pPr>
              <a:spcAft>
                <a:spcPts val="400"/>
              </a:spcAft>
              <a:defRPr sz="1600" b="0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2pPr>
            <a:lvl3pPr marL="288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3pPr>
            <a:lvl4pPr marL="288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4pPr>
            <a:lvl5pPr marL="576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5pPr>
            <a:lvl6pPr marL="576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6pPr>
            <a:lvl7pPr marL="864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7pPr>
            <a:lvl8pPr marL="864000" indent="0">
              <a:spcAft>
                <a:spcPts val="400"/>
              </a:spcAft>
              <a:buFont typeface="Arial" panose="020B0604020202020204" pitchFamily="34" charset="0"/>
              <a:buNone/>
              <a:defRPr sz="1600" b="1"/>
            </a:lvl8pPr>
            <a:lvl9pPr marL="1152000" indent="-288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/>
            </a:lvl9pPr>
          </a:lstStyle>
          <a:p>
            <a:pPr lvl="0"/>
            <a:r>
              <a:rPr lang="en-US" dirty="0"/>
              <a:t>Short text lin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CD9F8DE-CC92-0DB1-7F78-8F59C48047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2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Footer">
            <a:extLst>
              <a:ext uri="{FF2B5EF4-FFF2-40B4-BE49-F238E27FC236}">
                <a16:creationId xmlns:a16="http://schemas.microsoft.com/office/drawing/2014/main" id="{9472B2C4-1A7A-E7CD-4D6E-5171E50B96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3" name="INNOMOTICS Logo" descr="INNOMOTICS logo">
            <a:extLst>
              <a:ext uri="{FF2B5EF4-FFF2-40B4-BE49-F238E27FC236}">
                <a16:creationId xmlns:a16="http://schemas.microsoft.com/office/drawing/2014/main" id="{8F899DBF-D651-7B33-6D77-DC71BEF3BD2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814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08191F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">
            <a:extLst>
              <a:ext uri="{FF2B5EF4-FFF2-40B4-BE49-F238E27FC236}">
                <a16:creationId xmlns:a16="http://schemas.microsoft.com/office/drawing/2014/main" id="{17B13992-8D12-2CEA-ED83-C76E2048E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A2B26B96-16F8-12F7-A0CD-59B9D37A96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White">
          <a:xfrm>
            <a:off x="0" y="1714499"/>
            <a:ext cx="4064400" cy="4000501"/>
          </a:xfrm>
          <a:solidFill>
            <a:schemeClr val="tx2"/>
          </a:solidFill>
        </p:spPr>
        <p:txBody>
          <a:bodyPr lIns="572400" tIns="334800" rIns="572400" bIns="572400"/>
          <a:lstStyle>
            <a:lvl1pPr marL="0">
              <a:spcAft>
                <a:spcPts val="2100"/>
              </a:spcAft>
              <a:defRPr sz="18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88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3pPr>
            <a:lvl4pPr marL="2880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576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5pPr>
            <a:lvl6pPr marL="57600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6pPr>
            <a:lvl7pPr marL="864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7pPr>
            <a:lvl8pPr marL="86400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8pPr>
            <a:lvl9pPr marL="1152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Highlight">
            <a:extLst>
              <a:ext uri="{FF2B5EF4-FFF2-40B4-BE49-F238E27FC236}">
                <a16:creationId xmlns:a16="http://schemas.microsoft.com/office/drawing/2014/main" id="{476B1FAE-235D-561A-903F-6C25C0738B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4400" y="1715400"/>
            <a:ext cx="4064400" cy="3999600"/>
          </a:xfrm>
          <a:solidFill>
            <a:schemeClr val="bg2"/>
          </a:solidFill>
        </p:spPr>
        <p:txBody>
          <a:bodyPr lIns="572400" tIns="334800" rIns="572400" bIns="572400"/>
          <a:lstStyle>
            <a:lvl1pPr marL="0">
              <a:spcAft>
                <a:spcPts val="210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marL="288000" indent="-288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>
                <a:solidFill>
                  <a:schemeClr val="tx2"/>
                </a:solidFill>
              </a:defRPr>
            </a:lvl3pPr>
            <a:lvl4pPr marL="28800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4pPr>
            <a:lvl5pPr marL="576000" indent="-288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>
                <a:solidFill>
                  <a:schemeClr val="tx2"/>
                </a:solidFill>
              </a:defRPr>
            </a:lvl5pPr>
            <a:lvl6pPr marL="576000" indent="0">
              <a:buFont typeface="Arial" panose="020B0604020202020204" pitchFamily="34" charset="0"/>
              <a:buNone/>
              <a:defRPr sz="1600"/>
            </a:lvl6pPr>
            <a:lvl7pPr marL="864000" indent="-288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/>
            </a:lvl7pPr>
            <a:lvl8pPr marL="864000" indent="0">
              <a:buFont typeface="Arial" panose="020B0604020202020204" pitchFamily="34" charset="0"/>
              <a:buNone/>
              <a:defRPr sz="1600"/>
            </a:lvl8pPr>
            <a:lvl9pPr marL="1152000" indent="-288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/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8A6B9D13-7277-34B0-1EC8-22438ED080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White">
          <a:xfrm>
            <a:off x="8127600" y="1714499"/>
            <a:ext cx="4064400" cy="4000501"/>
          </a:xfrm>
          <a:solidFill>
            <a:schemeClr val="tx2"/>
          </a:solidFill>
        </p:spPr>
        <p:txBody>
          <a:bodyPr lIns="572400" tIns="334800" rIns="572400" bIns="572400"/>
          <a:lstStyle>
            <a:lvl1pPr marL="0">
              <a:spcAft>
                <a:spcPts val="2100"/>
              </a:spcAft>
              <a:defRPr sz="18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88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3pPr>
            <a:lvl4pPr marL="2880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576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5pPr>
            <a:lvl6pPr marL="57600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6pPr>
            <a:lvl7pPr marL="864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7pPr>
            <a:lvl8pPr marL="86400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8pPr>
            <a:lvl9pPr marL="1152000" indent="-28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5E169C-1867-BF5D-6986-5A473D71A52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8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383F4304-B8D7-5713-6F63-EDB60AAF2E9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3" name="INNOMOTICS Logo" descr="INNOMOTICS logo">
            <a:extLst>
              <a:ext uri="{FF2B5EF4-FFF2-40B4-BE49-F238E27FC236}">
                <a16:creationId xmlns:a16="http://schemas.microsoft.com/office/drawing/2014/main" id="{AFA81CC9-B320-47EF-BA87-063D1DF68AB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680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s + three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5832F5D6-D4EF-C6E3-CC83-FF4DF7ABD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Picture">
            <a:extLst>
              <a:ext uri="{FF2B5EF4-FFF2-40B4-BE49-F238E27FC236}">
                <a16:creationId xmlns:a16="http://schemas.microsoft.com/office/drawing/2014/main" id="{7DF2A12A-62BF-BBF9-676C-5D666BD5D9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1714500"/>
            <a:ext cx="4064400" cy="2286000"/>
          </a:xfrm>
          <a:solidFill>
            <a:schemeClr val="accent3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1 here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8A08E5AA-388B-E501-4F34-883B1CAA5F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000500"/>
            <a:ext cx="4064400" cy="1714500"/>
          </a:xfrm>
        </p:spPr>
        <p:txBody>
          <a:bodyPr lIns="572400" tIns="367200" rIns="572400"/>
          <a:lstStyle>
            <a:lvl1pPr>
              <a:spcAft>
                <a:spcPts val="4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2pPr>
            <a:lvl3pPr marL="216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3pPr>
            <a:lvl4pPr marL="216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4pPr>
            <a:lvl5pPr marL="432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5pPr>
            <a:lvl6pPr marL="432000" indent="0">
              <a:spcAft>
                <a:spcPts val="400"/>
              </a:spcAft>
              <a:buFont typeface="Arial" panose="020B0604020202020204" pitchFamily="34" charset="0"/>
              <a:buNone/>
              <a:defRPr sz="1400" b="0"/>
            </a:lvl6pPr>
            <a:lvl7pPr marL="648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7pPr>
            <a:lvl8pPr marL="648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8pPr>
            <a:lvl9pPr marL="864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">
            <a:extLst>
              <a:ext uri="{FF2B5EF4-FFF2-40B4-BE49-F238E27FC236}">
                <a16:creationId xmlns:a16="http://schemas.microsoft.com/office/drawing/2014/main" id="{52F106F4-61AF-CB5C-3A38-33A366DE6AB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064400" y="1714500"/>
            <a:ext cx="4064400" cy="2286000"/>
          </a:xfrm>
          <a:solidFill>
            <a:schemeClr val="accent4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2 here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F5C400D4-F680-BDA5-850D-6B68280488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4400" y="4000500"/>
            <a:ext cx="4064400" cy="1714500"/>
          </a:xfrm>
        </p:spPr>
        <p:txBody>
          <a:bodyPr lIns="288000" tIns="367200" rIns="572400"/>
          <a:lstStyle>
            <a:lvl1pPr>
              <a:spcAft>
                <a:spcPts val="4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2pPr>
            <a:lvl3pPr marL="216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3pPr>
            <a:lvl4pPr marL="216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4pPr>
            <a:lvl5pPr marL="432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5pPr>
            <a:lvl6pPr marL="432000" indent="0">
              <a:spcAft>
                <a:spcPts val="400"/>
              </a:spcAft>
              <a:buFont typeface="Arial" panose="020B0604020202020204" pitchFamily="34" charset="0"/>
              <a:buNone/>
              <a:defRPr sz="1400" b="0"/>
            </a:lvl6pPr>
            <a:lvl7pPr marL="648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7pPr>
            <a:lvl8pPr marL="648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8pPr>
            <a:lvl9pPr marL="864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">
            <a:extLst>
              <a:ext uri="{FF2B5EF4-FFF2-40B4-BE49-F238E27FC236}">
                <a16:creationId xmlns:a16="http://schemas.microsoft.com/office/drawing/2014/main" id="{EF6ACC2C-A1F4-17B4-D0F4-0EDA5273903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ltGray">
          <a:xfrm>
            <a:off x="8127600" y="1714500"/>
            <a:ext cx="4064400" cy="2286000"/>
          </a:xfrm>
          <a:solidFill>
            <a:schemeClr val="accent3"/>
          </a:solidFill>
        </p:spPr>
        <p:txBody>
          <a:bodyPr lIns="572400" tIns="529200" rIns="572400" bIns="5292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3 here</a:t>
            </a:r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7E69DC2B-65F4-4B07-C275-6CC8F1F5B5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7600" y="4000500"/>
            <a:ext cx="4064400" cy="1714500"/>
          </a:xfrm>
        </p:spPr>
        <p:txBody>
          <a:bodyPr lIns="288000" tIns="367200" rIns="572400"/>
          <a:lstStyle>
            <a:lvl1pPr>
              <a:spcAft>
                <a:spcPts val="4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2pPr>
            <a:lvl3pPr marL="216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3pPr>
            <a:lvl4pPr marL="216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4pPr>
            <a:lvl5pPr marL="432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5pPr>
            <a:lvl6pPr marL="432000" indent="0">
              <a:spcAft>
                <a:spcPts val="400"/>
              </a:spcAft>
              <a:buFont typeface="Arial" panose="020B0604020202020204" pitchFamily="34" charset="0"/>
              <a:buNone/>
              <a:defRPr sz="1400" b="0"/>
            </a:lvl6pPr>
            <a:lvl7pPr marL="648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7pPr>
            <a:lvl8pPr marL="648000" indent="0">
              <a:spcAft>
                <a:spcPts val="400"/>
              </a:spcAft>
              <a:buFont typeface="Arial" panose="020B0604020202020204" pitchFamily="34" charset="0"/>
              <a:buNone/>
              <a:defRPr sz="1400"/>
            </a:lvl8pPr>
            <a:lvl9pPr marL="864000" indent="-216000">
              <a:spcAft>
                <a:spcPts val="4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/>
            </a:lvl9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3DE9842C-E20A-ED7F-05F6-1C54F408FF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2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82D3ED71-BC00-2D1D-DA58-349D141F69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5" name="INNOMOTICS Logo" descr="INNOMOTICS logo">
            <a:extLst>
              <a:ext uri="{FF2B5EF4-FFF2-40B4-BE49-F238E27FC236}">
                <a16:creationId xmlns:a16="http://schemas.microsoft.com/office/drawing/2014/main" id="{56F02E96-47B2-DAA8-C32D-027942323571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050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08191F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(dark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5DFA6992-095C-8591-2384-42D6A42E9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255713" algn="l"/>
              </a:tabLst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able">
            <a:extLst>
              <a:ext uri="{FF2B5EF4-FFF2-40B4-BE49-F238E27FC236}">
                <a16:creationId xmlns:a16="http://schemas.microsoft.com/office/drawing/2014/main" id="{1FE82B31-B5F3-5F98-8378-66A6032BB01A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0" y="1714500"/>
            <a:ext cx="12192000" cy="4000500"/>
          </a:xfrm>
        </p:spPr>
        <p:txBody>
          <a:bodyPr bIns="504000"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ease insert table her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4F70156B-1A94-540B-51D8-86B8B3EACB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BFEB40F3-A7F6-9092-5D44-67E931523C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3" name="INNOMOTICS Logo">
            <a:extLst>
              <a:ext uri="{FF2B5EF4-FFF2-40B4-BE49-F238E27FC236}">
                <a16:creationId xmlns:a16="http://schemas.microsoft.com/office/drawing/2014/main" id="{6F1EADD1-2EC3-24CE-3FF9-6DA343BBC8E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04500" y="6245106"/>
            <a:ext cx="1016000" cy="22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05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E1F000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5DFA6992-095C-8591-2384-42D6A42E9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255713" algn="l"/>
              </a:tabLst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able">
            <a:extLst>
              <a:ext uri="{FF2B5EF4-FFF2-40B4-BE49-F238E27FC236}">
                <a16:creationId xmlns:a16="http://schemas.microsoft.com/office/drawing/2014/main" id="{1FE82B31-B5F3-5F98-8378-66A6032BB01A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0" y="1714500"/>
            <a:ext cx="12192000" cy="4000500"/>
          </a:xfrm>
        </p:spPr>
        <p:txBody>
          <a:bodyPr bIns="504000"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ease insert table her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4F70156B-1A94-540B-51D8-86B8B3EACB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BFEB40F3-A7F6-9092-5D44-67E931523C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3" name="INNOMOTICS Logo" descr="INNOMOTICS logo">
            <a:extLst>
              <a:ext uri="{FF2B5EF4-FFF2-40B4-BE49-F238E27FC236}">
                <a16:creationId xmlns:a16="http://schemas.microsoft.com/office/drawing/2014/main" id="{C5401986-785D-0667-2940-FD276DF7BDF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819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E1F000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bold, conten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D4001BA-D84F-2C69-9D93-0B61E5E0F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89600"/>
            <a:ext cx="7556500" cy="1224000"/>
          </a:xfrm>
        </p:spPr>
        <p:txBody>
          <a:bodyPr/>
          <a:lstStyle>
            <a:lvl1pPr>
              <a:lnSpc>
                <a:spcPct val="93000"/>
              </a:lnSpc>
              <a:defRPr sz="36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A64283F3-0A58-A18C-74D0-2299AEA1121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78738" y="2059200"/>
            <a:ext cx="7556500" cy="3655800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 marL="324000" indent="-324000">
              <a:spcAft>
                <a:spcPts val="6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2pPr>
            <a:lvl3pPr>
              <a:spcAft>
                <a:spcPts val="600"/>
              </a:spcAft>
              <a:defRPr/>
            </a:lvl3pPr>
            <a:lvl4pPr marL="648000" indent="-324000">
              <a:spcAft>
                <a:spcPts val="6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4pPr>
            <a:lvl5pPr>
              <a:spcAft>
                <a:spcPts val="600"/>
              </a:spcAft>
              <a:defRPr/>
            </a:lvl5pPr>
            <a:lvl6pPr marL="324000" indent="-324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lvl6pPr>
            <a:lvl7pPr marL="324000" indent="0">
              <a:buFont typeface="Arial" panose="020B0604020202020204" pitchFamily="34" charset="0"/>
              <a:buNone/>
              <a:defRPr/>
            </a:lvl7pPr>
            <a:lvl8pPr marL="648000" indent="-324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lvl8pPr>
            <a:lvl9pPr marL="648000" indent="0"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01FA42B-D81A-DDAD-8F42-34354E2AC37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1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Footer">
            <a:extLst>
              <a:ext uri="{FF2B5EF4-FFF2-40B4-BE49-F238E27FC236}">
                <a16:creationId xmlns:a16="http://schemas.microsoft.com/office/drawing/2014/main" id="{3947E6DD-018A-CD8F-1672-131805CD09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4" name="INNOMOTICS Logo" descr="INNOMOTICS – A Siemens Business logo">
            <a:extLst>
              <a:ext uri="{FF2B5EF4-FFF2-40B4-BE49-F238E27FC236}">
                <a16:creationId xmlns:a16="http://schemas.microsoft.com/office/drawing/2014/main" id="{0376ABD1-496A-882C-48BC-FAAD520DB56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321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 (dark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5832F5D6-D4EF-C6E3-CC83-FF4DF7ABD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3DE9842C-E20A-ED7F-05F6-1C54F408FF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82D3ED71-BC00-2D1D-DA58-349D141F69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5" name="INNOMOTICS Logo">
            <a:extLst>
              <a:ext uri="{FF2B5EF4-FFF2-40B4-BE49-F238E27FC236}">
                <a16:creationId xmlns:a16="http://schemas.microsoft.com/office/drawing/2014/main" id="{DE04CCA0-758A-6F3F-20BC-BF1FBB6D330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04500" y="6245106"/>
            <a:ext cx="1016000" cy="22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660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08191F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5832F5D6-D4EF-C6E3-CC83-FF4DF7ABD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3DE9842C-E20A-ED7F-05F6-1C54F408FF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82D3ED71-BC00-2D1D-DA58-349D141F69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5" name="INNOMOTICS Logo" descr="INNOMOTICS logo">
            <a:extLst>
              <a:ext uri="{FF2B5EF4-FFF2-40B4-BE49-F238E27FC236}">
                <a16:creationId xmlns:a16="http://schemas.microsoft.com/office/drawing/2014/main" id="{14CC9036-4CFC-FB14-B6EE-230BA547EA5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440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08191F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 (dark) with headll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>
            <a:extLst>
              <a:ext uri="{FF2B5EF4-FFF2-40B4-BE49-F238E27FC236}">
                <a16:creationId xmlns:a16="http://schemas.microsoft.com/office/drawing/2014/main" id="{44E10281-C212-AB8C-190B-231486C2B01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0"/>
            <a:ext cx="12192000" cy="6858000"/>
          </a:xfrm>
          <a:solidFill>
            <a:schemeClr val="accent3"/>
          </a:solidFill>
        </p:spPr>
        <p:txBody>
          <a:bodyPr lIns="572400" tIns="529200" rIns="572400" bIns="1144800" anchor="b"/>
          <a:lstStyle>
            <a:lvl1pPr algn="ctr">
              <a:defRPr i="0">
                <a:solidFill>
                  <a:schemeClr val="bg2"/>
                </a:solidFill>
                <a:sym typeface="Wingdings" panose="05000000000000000000" pitchFamily="2" charset="2"/>
              </a:defRPr>
            </a:lvl1pPr>
          </a:lstStyle>
          <a:p>
            <a:r>
              <a:rPr lang="en-US" dirty="0"/>
              <a:t>Please insert full size image here. Just use “Insert”  “Images”  “Pictures” for it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3BE290B-1C48-088A-09E8-E9AD23184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3812552"/>
          </a:xfrm>
          <a:gradFill flip="none" rotWithShape="1">
            <a:gsLst>
              <a:gs pos="15000">
                <a:schemeClr val="bg2">
                  <a:alpha val="60000"/>
                </a:schemeClr>
              </a:gs>
              <a:gs pos="60000">
                <a:schemeClr val="bg2">
                  <a:alpha val="0"/>
                </a:schemeClr>
              </a:gs>
            </a:gsLst>
            <a:lin ang="4680000" scaled="0"/>
            <a:tileRect/>
          </a:gradFill>
        </p:spPr>
        <p:txBody>
          <a:bodyPr wrap="square" lIns="572400" tIns="536400" rIns="1144800" bIns="1717200">
            <a:spAutoFit/>
          </a:bodyPr>
          <a:lstStyle>
            <a:lvl1pPr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00A14A6-B7A1-761D-E45E-12C1C9C4831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A0B8956D-471A-BDE4-6296-ADF7DE63CF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sp>
        <p:nvSpPr>
          <p:cNvPr id="3" name="INNOMOTICS Logo" descr="INNOMOTICS logo">
            <a:extLst>
              <a:ext uri="{FF2B5EF4-FFF2-40B4-BE49-F238E27FC236}">
                <a16:creationId xmlns:a16="http://schemas.microsoft.com/office/drawing/2014/main" id="{9A2A0957-E8D3-E5D7-1874-9721AFCE7D9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605300" y="6246000"/>
            <a:ext cx="1015200" cy="2196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778023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E1F000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 (light) with headl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>
            <a:extLst>
              <a:ext uri="{FF2B5EF4-FFF2-40B4-BE49-F238E27FC236}">
                <a16:creationId xmlns:a16="http://schemas.microsoft.com/office/drawing/2014/main" id="{44E10281-C212-AB8C-190B-231486C2B01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0"/>
            <a:ext cx="12192000" cy="6858000"/>
          </a:xfrm>
          <a:solidFill>
            <a:schemeClr val="accent3"/>
          </a:solidFill>
        </p:spPr>
        <p:txBody>
          <a:bodyPr lIns="572400" tIns="529200" rIns="572400" bIns="1144800" anchor="b" anchorCtr="0"/>
          <a:lstStyle>
            <a:lvl1pPr algn="ctr">
              <a:defRPr>
                <a:solidFill>
                  <a:schemeClr val="tx2"/>
                </a:solidFill>
                <a:sym typeface="Wingdings" panose="05000000000000000000" pitchFamily="2" charset="2"/>
              </a:defRPr>
            </a:lvl1pPr>
          </a:lstStyle>
          <a:p>
            <a:r>
              <a:rPr lang="en-US" dirty="0"/>
              <a:t>Please insert full size image here. Just use “Insert”  “Images”  “Pictures” for it.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229F07C3-3322-861D-6444-8F5F6AB40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3812552"/>
          </a:xfrm>
          <a:gradFill flip="none" rotWithShape="1">
            <a:gsLst>
              <a:gs pos="15000">
                <a:schemeClr val="bg1">
                  <a:alpha val="60000"/>
                </a:schemeClr>
              </a:gs>
              <a:gs pos="60000">
                <a:schemeClr val="bg1">
                  <a:alpha val="0"/>
                </a:schemeClr>
              </a:gs>
            </a:gsLst>
            <a:lin ang="4680000" scaled="0"/>
            <a:tileRect/>
          </a:gradFill>
        </p:spPr>
        <p:txBody>
          <a:bodyPr wrap="square" lIns="572400" tIns="536400" rIns="1144800" bIns="1717200">
            <a:spAutoFit/>
          </a:bodyPr>
          <a:lstStyle>
            <a:lvl1pPr>
              <a:lnSpc>
                <a:spcPct val="85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85781F7-3257-C26C-AFC1-2FE24314102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B1AE7EF2-D2DC-95A2-987C-60CBCBC162F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2" name="INNOMOTICS Logo" descr="INNOMOTICS logo">
            <a:extLst>
              <a:ext uri="{FF2B5EF4-FFF2-40B4-BE49-F238E27FC236}">
                <a16:creationId xmlns:a16="http://schemas.microsoft.com/office/drawing/2014/main" id="{89C1EB76-2546-5862-B0BB-FDF85599EA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605300" y="6246000"/>
            <a:ext cx="1015200" cy="2196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628719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08191F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92B75BE-53B2-80BF-5F29-0F34B9E7A2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1714499"/>
            <a:ext cx="11048999" cy="2980800"/>
          </a:xfrm>
        </p:spPr>
        <p:txBody>
          <a:bodyPr wrap="square" anchor="b" anchorCtr="0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CC5F0C93-F65F-89A7-EBE0-783D091058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" y="4694400"/>
            <a:ext cx="7556499" cy="1018800"/>
          </a:xfrm>
        </p:spPr>
        <p:txBody>
          <a:bodyPr tIns="205200"/>
          <a:lstStyle>
            <a:lvl1pPr>
              <a:lnSpc>
                <a:spcPct val="108000"/>
              </a:lnSpc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Quotation marks">
            <a:extLst>
              <a:ext uri="{FF2B5EF4-FFF2-40B4-BE49-F238E27FC236}">
                <a16:creationId xmlns:a16="http://schemas.microsoft.com/office/drawing/2014/main" id="{7AFF8380-FFEA-A991-C750-1C70434026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ltGray">
          <a:xfrm>
            <a:off x="571500" y="0"/>
            <a:ext cx="1016000" cy="1143000"/>
          </a:xfrm>
          <a:custGeom>
            <a:avLst/>
            <a:gdLst>
              <a:gd name="connsiteX0" fmla="*/ 571501 w 1016000"/>
              <a:gd name="connsiteY0" fmla="*/ 0 h 1143000"/>
              <a:gd name="connsiteX1" fmla="*/ 1016000 w 1016000"/>
              <a:gd name="connsiteY1" fmla="*/ 0 h 1143000"/>
              <a:gd name="connsiteX2" fmla="*/ 1016000 w 1016000"/>
              <a:gd name="connsiteY2" fmla="*/ 1143000 h 1143000"/>
              <a:gd name="connsiteX3" fmla="*/ 571501 w 1016000"/>
              <a:gd name="connsiteY3" fmla="*/ 1143000 h 1143000"/>
              <a:gd name="connsiteX4" fmla="*/ 0 w 1016000"/>
              <a:gd name="connsiteY4" fmla="*/ 0 h 1143000"/>
              <a:gd name="connsiteX5" fmla="*/ 444499 w 1016000"/>
              <a:gd name="connsiteY5" fmla="*/ 0 h 1143000"/>
              <a:gd name="connsiteX6" fmla="*/ 444499 w 1016000"/>
              <a:gd name="connsiteY6" fmla="*/ 1143000 h 1143000"/>
              <a:gd name="connsiteX7" fmla="*/ 0 w 1016000"/>
              <a:gd name="connsiteY7" fmla="*/ 114300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16000" h="1143000">
                <a:moveTo>
                  <a:pt x="571501" y="0"/>
                </a:moveTo>
                <a:lnTo>
                  <a:pt x="1016000" y="0"/>
                </a:lnTo>
                <a:lnTo>
                  <a:pt x="1016000" y="1143000"/>
                </a:lnTo>
                <a:lnTo>
                  <a:pt x="571501" y="1143000"/>
                </a:lnTo>
                <a:close/>
                <a:moveTo>
                  <a:pt x="0" y="0"/>
                </a:moveTo>
                <a:lnTo>
                  <a:pt x="444499" y="0"/>
                </a:lnTo>
                <a:lnTo>
                  <a:pt x="444499" y="1143000"/>
                </a:lnTo>
                <a:lnTo>
                  <a:pt x="0" y="1143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 sz="1600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DE075F3-BDA7-19DD-5EB4-08C14375F9F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99C345B5-3D0B-7AAB-D13C-BFA57A2240D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4" name="INNOMOTICS Logo" descr="INNOMOTICS logo">
            <a:extLst>
              <a:ext uri="{FF2B5EF4-FFF2-40B4-BE49-F238E27FC236}">
                <a16:creationId xmlns:a16="http://schemas.microsoft.com/office/drawing/2014/main" id="{036E8AE7-F6CE-7D1A-CC43-9C29F48468D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520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08191F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92B75BE-53B2-80BF-5F29-0F34B9E7A2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571500"/>
            <a:ext cx="11048999" cy="4572000"/>
          </a:xfrm>
        </p:spPr>
        <p:txBody>
          <a:bodyPr wrap="square" tIns="432000" bIns="0" anchor="ctr" anchorCtr="1">
            <a:noAutofit/>
          </a:bodyPr>
          <a:lstStyle>
            <a:lvl1pPr algn="ctr">
              <a:lnSpc>
                <a:spcPct val="85000"/>
              </a:lnSpc>
              <a:defRPr sz="11000"/>
            </a:lvl1pPr>
          </a:lstStyle>
          <a:p>
            <a:r>
              <a:rPr lang="en-US" dirty="0"/>
              <a:t>Goodbye formula</a:t>
            </a:r>
          </a:p>
        </p:txBody>
      </p:sp>
      <p:pic>
        <p:nvPicPr>
          <p:cNvPr id="4" name="INNOMOTICS Logo">
            <a:extLst>
              <a:ext uri="{FF2B5EF4-FFF2-40B4-BE49-F238E27FC236}">
                <a16:creationId xmlns:a16="http://schemas.microsoft.com/office/drawing/2014/main" id="{6B631E51-5E90-3B5A-F524-94278BE14CA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04500" y="6245106"/>
            <a:ext cx="1016000" cy="22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940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B4BABB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F1026F59-C341-219A-95D1-F1AD700E7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0" y="1143000"/>
            <a:ext cx="4064000" cy="1143000"/>
          </a:xfrm>
          <a:solidFill>
            <a:schemeClr val="tx2"/>
          </a:solidFill>
        </p:spPr>
        <p:txBody>
          <a:bodyPr lIns="1015200" anchor="ctr" anchorCtr="0"/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Cont.</a:t>
            </a:r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9B774D6A-6F81-DA3A-FCE9-BECDE17ED3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1645200"/>
            <a:ext cx="5524500" cy="4071600"/>
          </a:xfrm>
        </p:spPr>
        <p:txBody>
          <a:bodyPr/>
          <a:lstStyle>
            <a:lvl1pPr defTabSz="252000">
              <a:spcAft>
                <a:spcPts val="1200"/>
              </a:spcAft>
              <a:tabLst>
                <a:tab pos="864000" algn="l"/>
              </a:tabLst>
              <a:defRPr/>
            </a:lvl1pPr>
            <a:lvl2pPr marL="0" indent="0" defTabSz="252000">
              <a:spcAft>
                <a:spcPts val="0"/>
              </a:spcAft>
              <a:buFont typeface="Arial" panose="020B0604020202020204" pitchFamily="34" charset="0"/>
              <a:buNone/>
              <a:tabLst>
                <a:tab pos="864000" algn="l"/>
              </a:tabLst>
              <a:defRPr b="1"/>
            </a:lvl2pPr>
            <a:lvl3pPr marL="0" indent="0" defTabSz="2520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64000" algn="l"/>
              </a:tabLst>
              <a:defRPr/>
            </a:lvl3pPr>
            <a:lvl4pPr marL="0" indent="0" defTabSz="25200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  <a:tabLst>
                <a:tab pos="864000" algn="l"/>
              </a:tabLst>
              <a:defRPr/>
            </a:lvl4pPr>
            <a:lvl5pPr marL="324000" indent="-324000">
              <a:spcBef>
                <a:spcPts val="4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4BE5A0F-65E4-97B9-AD32-51C9E41839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5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B95AAD75-843C-9FE3-5971-26F213BA1C8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8CBF11B-AF76-6387-A33E-FEFA3BC0FF6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032000" y="2857500"/>
            <a:ext cx="2032000" cy="2286000"/>
          </a:xfrm>
        </p:spPr>
        <p:txBody>
          <a:bodyPr lIns="180000" tIns="144000" rIns="180000" bIns="144000"/>
          <a:lstStyle>
            <a:lvl1pPr>
              <a:defRPr/>
            </a:lvl1pPr>
          </a:lstStyle>
          <a:p>
            <a:r>
              <a:rPr lang="en-US" dirty="0"/>
              <a:t>Optional</a:t>
            </a:r>
            <a:br>
              <a:rPr lang="en-US" dirty="0"/>
            </a:br>
            <a:r>
              <a:rPr lang="en-US" dirty="0"/>
              <a:t>Portrait</a:t>
            </a:r>
          </a:p>
        </p:txBody>
      </p:sp>
      <p:pic>
        <p:nvPicPr>
          <p:cNvPr id="2" name="INNOMOTICS Logo" descr="INNOMOTICS logo">
            <a:extLst>
              <a:ext uri="{FF2B5EF4-FFF2-40B4-BE49-F238E27FC236}">
                <a16:creationId xmlns:a16="http://schemas.microsoft.com/office/drawing/2014/main" id="{F3361BCF-D0BC-2957-080A-FD6BF44F83D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04500" y="6245084"/>
            <a:ext cx="1016000" cy="22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502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08191F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585C3481-23ED-37F6-AA07-6345FCCC0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A64283F3-0A58-A18C-74D0-2299AEA1121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78738" y="1638000"/>
            <a:ext cx="7556500" cy="4077000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 marL="324000" indent="-324000">
              <a:spcAft>
                <a:spcPts val="6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2pPr>
            <a:lvl3pPr>
              <a:spcAft>
                <a:spcPts val="600"/>
              </a:spcAft>
              <a:defRPr/>
            </a:lvl3pPr>
            <a:lvl4pPr marL="648000" indent="-324000">
              <a:spcAft>
                <a:spcPts val="60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4pPr>
            <a:lvl5pPr>
              <a:spcAft>
                <a:spcPts val="600"/>
              </a:spcAft>
              <a:defRPr/>
            </a:lvl5pPr>
            <a:lvl6pPr marL="324000" indent="-324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lvl6pPr>
            <a:lvl7pPr marL="324000" indent="0">
              <a:buFont typeface="Arial" panose="020B0604020202020204" pitchFamily="34" charset="0"/>
              <a:buNone/>
              <a:defRPr/>
            </a:lvl7pPr>
            <a:lvl8pPr marL="648000" indent="-3240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lvl8pPr>
            <a:lvl9pPr marL="648000" indent="0"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01FA42B-D81A-DDAD-8F42-34354E2AC37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1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Footer">
            <a:extLst>
              <a:ext uri="{FF2B5EF4-FFF2-40B4-BE49-F238E27FC236}">
                <a16:creationId xmlns:a16="http://schemas.microsoft.com/office/drawing/2014/main" id="{3947E6DD-018A-CD8F-1672-131805CD09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4" name="INNOMOTICS Logo" descr="INNOMOTICS – A Siemens Business logo">
            <a:extLst>
              <a:ext uri="{FF2B5EF4-FFF2-40B4-BE49-F238E27FC236}">
                <a16:creationId xmlns:a16="http://schemas.microsoft.com/office/drawing/2014/main" id="{455C7E50-7855-1CDC-C5AB-291A43E5C32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331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aph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F603AD2-4EFD-707B-7A91-76B44547F6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298800"/>
            <a:ext cx="6540500" cy="2386800"/>
          </a:xfrm>
        </p:spPr>
        <p:txBody>
          <a:bodyPr wrap="none" bIns="0" anchor="t" anchorCtr="0"/>
          <a:lstStyle>
            <a:lvl1pPr>
              <a:lnSpc>
                <a:spcPct val="85000"/>
              </a:lnSpc>
              <a:defRPr sz="19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No</a:t>
            </a:r>
            <a:endParaRPr lang="de-DE" dirty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E2E3FE66-5DD9-65BA-9709-6F10C04C38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2685600"/>
            <a:ext cx="6540500" cy="3031200"/>
          </a:xfrm>
        </p:spPr>
        <p:txBody>
          <a:bodyPr wrap="square" tIns="57600">
            <a:noAutofit/>
          </a:bodyPr>
          <a:lstStyle>
            <a:lvl1pPr marL="0" indent="0">
              <a:lnSpc>
                <a:spcPct val="93000"/>
              </a:lnSpc>
              <a:buNone/>
              <a:defRPr sz="6000" b="1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92CEA60-8CEB-C524-0818-5519548238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1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A1A1D4A1-F954-3F57-7C48-DF6DAA075B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pic>
        <p:nvPicPr>
          <p:cNvPr id="4" name="INNOMOTICS Logo" descr="INNOMOTICS – A Siemens Business logo">
            <a:extLst>
              <a:ext uri="{FF2B5EF4-FFF2-40B4-BE49-F238E27FC236}">
                <a16:creationId xmlns:a16="http://schemas.microsoft.com/office/drawing/2014/main" id="{EE7D5903-A705-12DA-64EF-BE9B01623FC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407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08191F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08191F"/>
          </p15:clr>
        </p15:guide>
        <p15:guide id="16" orient="horz" pos="1800">
          <p15:clr>
            <a:srgbClr val="08191F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aphic spli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358ADDB2-D9AA-DE90-6A32-4D067F1A94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ltGray">
          <a:xfrm>
            <a:off x="9152000" y="0"/>
            <a:ext cx="304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603AD2-4EFD-707B-7A91-76B44547F6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0" y="576262"/>
            <a:ext cx="2476500" cy="1476000"/>
          </a:xfrm>
        </p:spPr>
        <p:txBody>
          <a:bodyPr wrap="none" bIns="0" anchor="b" anchorCtr="0"/>
          <a:lstStyle>
            <a:lvl1pPr algn="r">
              <a:lnSpc>
                <a:spcPct val="85000"/>
              </a:lnSpc>
              <a:defRPr sz="12800" spc="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No</a:t>
            </a:r>
            <a:endParaRPr lang="de-DE" dirty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E2E3FE66-5DD9-65BA-9709-6F10C04C38F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571500" y="1029600"/>
            <a:ext cx="7556500" cy="4685400"/>
          </a:xfrm>
        </p:spPr>
        <p:txBody>
          <a:bodyPr wrap="square">
            <a:noAutofit/>
          </a:bodyPr>
          <a:lstStyle>
            <a:lvl1pPr marL="0" indent="0">
              <a:lnSpc>
                <a:spcPct val="93000"/>
              </a:lnSpc>
              <a:buNone/>
              <a:defRPr sz="6000" b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54637F02-DCC0-D5FF-2820-B159782CB3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83CD0D0C-BB9E-32E9-5531-37F08FC692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4" name="INNOMOTICS Logo" descr="INNOMOTICS – A Siemens Business logo">
            <a:extLst>
              <a:ext uri="{FF2B5EF4-FFF2-40B4-BE49-F238E27FC236}">
                <a16:creationId xmlns:a16="http://schemas.microsoft.com/office/drawing/2014/main" id="{B6ACD87A-C593-FB30-9D57-099207E614B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425687" y="6062688"/>
            <a:ext cx="1194813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553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B4BABB"/>
          </p15:clr>
        </p15:guide>
        <p15:guide id="9" pos="5760">
          <p15:clr>
            <a:srgbClr val="08191F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E1F000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  <p15:guide id="23" pos="6120">
          <p15:clr>
            <a:srgbClr val="08191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F603AD2-4EFD-707B-7A91-76B44547F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7200"/>
            <a:ext cx="5524500" cy="2556000"/>
          </a:xfrm>
        </p:spPr>
        <p:txBody>
          <a:bodyPr wrap="square" anchor="b" anchorCtr="0">
            <a:noAutofit/>
          </a:bodyPr>
          <a:lstStyle>
            <a:lvl1pPr algn="l">
              <a:lnSpc>
                <a:spcPct val="93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E901C57D-EBF2-2213-25EB-7C5BD7547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571500" y="3013200"/>
            <a:ext cx="5524500" cy="2700000"/>
          </a:xfrm>
        </p:spPr>
        <p:txBody>
          <a:bodyPr tIns="36000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tx1"/>
                </a:solidFill>
              </a:defRPr>
            </a:lvl2pPr>
            <a:lvl3pPr marL="32400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3pPr>
            <a:lvl4pPr marL="648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tx1"/>
                </a:solidFill>
              </a:defRPr>
            </a:lvl4pPr>
            <a:lvl5pPr marL="64800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5pPr>
            <a:lvl6pPr marL="972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tx1"/>
                </a:solidFill>
              </a:defRPr>
            </a:lvl6pPr>
            <a:lvl7pPr marL="97200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7pPr>
            <a:lvl8pPr marL="1296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tx1"/>
                </a:solidFill>
              </a:defRPr>
            </a:lvl8pPr>
            <a:lvl9pPr marL="129600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7E454802-2D5A-A0E2-7BBB-A392F3767B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black">
          <a:xfrm>
            <a:off x="7111999" y="1080000"/>
            <a:ext cx="4508501" cy="4636800"/>
          </a:xfrm>
        </p:spPr>
        <p:txBody>
          <a:bodyPr l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2pPr>
            <a:lvl3pPr marL="324000" indent="0"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3pPr>
            <a:lvl4pPr marL="648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4pPr>
            <a:lvl5pPr marL="648000" indent="0"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5pPr>
            <a:lvl6pPr marL="324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6pPr>
            <a:lvl7pPr marL="324000" indent="0">
              <a:buFont typeface="Arial" panose="020B0604020202020204" pitchFamily="34" charset="0"/>
              <a:buNone/>
              <a:defRPr b="1"/>
            </a:lvl7pPr>
            <a:lvl8pPr marL="648000" indent="-32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8pPr>
            <a:lvl9pPr marL="648000" indent="0">
              <a:buFont typeface="Arial" panose="020B0604020202020204" pitchFamily="34" charset="0"/>
              <a:buNone/>
              <a:defRPr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6C25647-0631-841A-3B26-91A803761E2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F8A476BA-39C6-C0AC-44F7-41CCD3EF64E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  <p:pic>
        <p:nvPicPr>
          <p:cNvPr id="4" name="INNOMOTICS Logo">
            <a:extLst>
              <a:ext uri="{FF2B5EF4-FFF2-40B4-BE49-F238E27FC236}">
                <a16:creationId xmlns:a16="http://schemas.microsoft.com/office/drawing/2014/main" id="{5F5B7D0A-A706-F434-63BD-708752E9084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425687" y="6062690"/>
            <a:ext cx="1194813" cy="403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059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E1F000"/>
          </p15:clr>
        </p15:guide>
        <p15:guide id="7" pos="4480">
          <p15:clr>
            <a:srgbClr val="E1F000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E1F000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E1F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bold,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B7BF466-15E3-2155-DEC9-C88110A19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89600"/>
            <a:ext cx="6096000" cy="1224000"/>
          </a:xfrm>
        </p:spPr>
        <p:txBody>
          <a:bodyPr/>
          <a:lstStyle>
            <a:lvl1pPr>
              <a:lnSpc>
                <a:spcPct val="93000"/>
              </a:lnSpc>
              <a:defRPr sz="36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A9105330-A92B-B488-D2DD-FAC8585118A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1500" y="2059200"/>
            <a:ext cx="6094800" cy="3655800"/>
          </a:xfrm>
        </p:spPr>
        <p:txBody>
          <a:bodyPr t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A3706180-62B4-9897-E08A-94B6439BEC8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7112000" y="0"/>
            <a:ext cx="5080000" cy="6857999"/>
          </a:xfrm>
          <a:solidFill>
            <a:schemeClr val="accent3"/>
          </a:solidFill>
        </p:spPr>
        <p:txBody>
          <a:bodyPr lIns="572400" tIns="529200"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image her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B0F4D0D5-43AF-3D08-2EF6-AB5DE4CB23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6"/>
          </p:nvPr>
        </p:nvSpPr>
        <p:spPr/>
        <p:txBody>
          <a:bodyPr/>
          <a:lstStyle/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806B0F86-3B1D-F49C-7824-E8A27ABD6E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1018800" y="6285600"/>
            <a:ext cx="5648700" cy="180000"/>
          </a:xfrm>
        </p:spPr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3" name="INNOMOTICS Logo" descr="INNOMOTICS logo">
            <a:extLst>
              <a:ext uri="{FF2B5EF4-FFF2-40B4-BE49-F238E27FC236}">
                <a16:creationId xmlns:a16="http://schemas.microsoft.com/office/drawing/2014/main" id="{93397557-F099-8DCD-7DF3-E8791C8CCE9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425300" y="6062400"/>
            <a:ext cx="1195200" cy="403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rIns="0"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Log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5859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B4BABB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08191F"/>
          </p15:clr>
        </p15:guide>
        <p15:guide id="8" pos="5120">
          <p15:clr>
            <a:srgbClr val="B4BABB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B4BABB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B4BABB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  <p15:guide id="23" pos="4200">
          <p15:clr>
            <a:srgbClr val="08191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FB25D29-CC97-6946-0342-03903DDCF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04000"/>
            <a:ext cx="11049000" cy="640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761084C7-0B08-385B-3816-4F66263A1B2F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71500" y="1486800"/>
            <a:ext cx="11049000" cy="422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3525B1C-0036-C6C3-4174-04CCD3F40E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571500" y="6285600"/>
            <a:ext cx="444500" cy="180000"/>
          </a:xfrm>
          <a:prstGeom prst="rect">
            <a:avLst/>
          </a:prstGeom>
        </p:spPr>
        <p:txBody>
          <a:bodyPr vert="horz" lIns="0" tIns="0" rIns="72000" bIns="0" rtlCol="0" anchor="t"/>
          <a:lstStyle>
            <a:lvl1pPr algn="l">
              <a:lnSpc>
                <a:spcPct val="144000"/>
              </a:lnSpc>
              <a:defRPr sz="1100" b="1" kern="800" spc="20" baseline="0">
                <a:solidFill>
                  <a:schemeClr val="tx2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6767C6B3-28F5-8495-7A1F-AF47A0B4A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>
          <a:xfrm>
            <a:off x="1018800" y="6285600"/>
            <a:ext cx="7110000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44000"/>
              </a:lnSpc>
              <a:defRPr sz="1100" kern="800" spc="2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</p:spTree>
    <p:extLst>
      <p:ext uri="{BB962C8B-B14F-4D97-AF65-F5344CB8AC3E}">
        <p14:creationId xmlns:p14="http://schemas.microsoft.com/office/powerpoint/2010/main" val="1312355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sldNum="0" hdr="0" dt="0"/>
  <p:txStyles>
    <p:titleStyle>
      <a:lvl1pPr algn="l" defTabSz="914400" rtl="0" eaLnBrk="1" latinLnBrk="0" hangingPunct="1">
        <a:lnSpc>
          <a:spcPct val="108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Tx/>
        <a:buBlip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</a:buBlip>
        <a:defRPr lang="de-DE" sz="1800" kern="1000" baseline="0" dirty="0">
          <a:solidFill>
            <a:schemeClr val="tx2"/>
          </a:solidFill>
          <a:latin typeface="+mn-lt"/>
          <a:ea typeface="+mn-ea"/>
          <a:cs typeface="+mn-cs"/>
        </a:defRPr>
      </a:lvl2pPr>
      <a:lvl3pPr marL="32400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0" kern="1000" baseline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3240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Tx/>
        <a:buBlip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</a:buBlip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4pPr>
      <a:lvl5pPr marL="64800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5pPr>
      <a:lvl6pPr marL="972000" indent="-3240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Tx/>
        <a:buBlip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</a:buBlip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6pPr>
      <a:lvl7pPr marL="97200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7pPr>
      <a:lvl8pPr marL="1296000" indent="-3240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Tx/>
        <a:buBlip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</a:buBlip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8pPr>
      <a:lvl9pPr marL="129600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">
          <p15:clr>
            <a:srgbClr val="40545B"/>
          </p15:clr>
        </p15:guide>
        <p15:guide id="2" pos="360">
          <p15:clr>
            <a:srgbClr val="40545B"/>
          </p15:clr>
        </p15:guide>
        <p15:guide id="3" orient="horz" pos="3960">
          <p15:clr>
            <a:srgbClr val="40545B"/>
          </p15:clr>
        </p15:guide>
        <p15:guide id="4" orient="horz" pos="4073">
          <p15:clr>
            <a:srgbClr val="B4BABB"/>
          </p15:clr>
        </p15:guide>
        <p15:guide id="5" pos="7320">
          <p15:clr>
            <a:srgbClr val="40545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FB25D29-CC97-6946-0342-03903DDCF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04000"/>
            <a:ext cx="11049000" cy="640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761084C7-0B08-385B-3816-4F66263A1B2F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71500" y="1486800"/>
            <a:ext cx="11049000" cy="422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3525B1C-0036-C6C3-4174-04CCD3F40E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571500" y="6285600"/>
            <a:ext cx="444500" cy="180000"/>
          </a:xfrm>
          <a:prstGeom prst="rect">
            <a:avLst/>
          </a:prstGeom>
        </p:spPr>
        <p:txBody>
          <a:bodyPr vert="horz" lIns="0" tIns="0" rIns="72000" bIns="0" rtlCol="0" anchor="t"/>
          <a:lstStyle>
            <a:lvl1pPr algn="l">
              <a:lnSpc>
                <a:spcPct val="144000"/>
              </a:lnSpc>
              <a:defRPr sz="1100" b="1" kern="800" spc="20" baseline="0">
                <a:solidFill>
                  <a:schemeClr val="tx2"/>
                </a:solidFill>
              </a:defRPr>
            </a:lvl1pPr>
          </a:lstStyle>
          <a:p>
            <a:fld id="{90CCF0FC-D7CE-4A07-BC3B-DB0E183F8E28}" type="slidenum">
              <a:rPr lang="de-DE" smtClean="0"/>
              <a:t>‹#›</a:t>
            </a:fld>
            <a:endParaRPr lang="de-DE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6767C6B3-28F5-8495-7A1F-AF47A0B4A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>
          <a:xfrm>
            <a:off x="1018800" y="6285600"/>
            <a:ext cx="7110000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44000"/>
              </a:lnSpc>
              <a:defRPr sz="1100" kern="800" spc="2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INNOMOTICS | IN LVM GM PPM PM</a:t>
            </a:r>
          </a:p>
        </p:txBody>
      </p:sp>
    </p:spTree>
    <p:extLst>
      <p:ext uri="{BB962C8B-B14F-4D97-AF65-F5344CB8AC3E}">
        <p14:creationId xmlns:p14="http://schemas.microsoft.com/office/powerpoint/2010/main" val="362791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sldNum="0" hdr="0" dt="0"/>
  <p:txStyles>
    <p:titleStyle>
      <a:lvl1pPr algn="l" defTabSz="914400" rtl="0" eaLnBrk="1" latinLnBrk="0" hangingPunct="1">
        <a:lnSpc>
          <a:spcPct val="108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Tx/>
        <a:buBlip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</a:buBlip>
        <a:defRPr lang="de-DE" sz="1800" kern="1000" baseline="0" dirty="0">
          <a:solidFill>
            <a:schemeClr val="tx2"/>
          </a:solidFill>
          <a:latin typeface="+mn-lt"/>
          <a:ea typeface="+mn-ea"/>
          <a:cs typeface="+mn-cs"/>
        </a:defRPr>
      </a:lvl2pPr>
      <a:lvl3pPr marL="32400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0" kern="1000" baseline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3240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Tx/>
        <a:buBlip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</a:buBlip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4pPr>
      <a:lvl5pPr marL="64800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5pPr>
      <a:lvl6pPr marL="972000" indent="-3240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Tx/>
        <a:buBlip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</a:buBlip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6pPr>
      <a:lvl7pPr marL="97200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7pPr>
      <a:lvl8pPr marL="1296000" indent="-3240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Tx/>
        <a:buBlip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</a:buBlip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8pPr>
      <a:lvl9pPr marL="129600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0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">
          <p15:clr>
            <a:srgbClr val="40545B"/>
          </p15:clr>
        </p15:guide>
        <p15:guide id="2" pos="360">
          <p15:clr>
            <a:srgbClr val="40545B"/>
          </p15:clr>
        </p15:guide>
        <p15:guide id="3" orient="horz" pos="3960">
          <p15:clr>
            <a:srgbClr val="40545B"/>
          </p15:clr>
        </p15:guide>
        <p15:guide id="4" orient="horz" pos="4073">
          <p15:clr>
            <a:srgbClr val="B4BABB"/>
          </p15:clr>
        </p15:guide>
        <p15:guide id="5" pos="7320">
          <p15:clr>
            <a:srgbClr val="40545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if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731E29-892E-451A-6F02-5BB4839CF8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nnomotics SG</a:t>
            </a:r>
            <a:br>
              <a:rPr lang="de-DE" dirty="0"/>
            </a:br>
            <a:r>
              <a:rPr lang="de-DE" dirty="0"/>
              <a:t>Geared Motor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F2F2225-301A-E5BE-B5C0-AC68263873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New IEC Adapter Generation KU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40C41C-2BD0-D39F-620E-46F0600B77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2024</a:t>
            </a:r>
          </a:p>
        </p:txBody>
      </p:sp>
      <p:pic>
        <p:nvPicPr>
          <p:cNvPr id="9" name="Grafik 8" descr="Ein Bild, das Autoteile, Maschine, Metall, Rotor enthält.&#10;&#10;Automatisch generierte Beschreibung">
            <a:extLst>
              <a:ext uri="{FF2B5EF4-FFF2-40B4-BE49-F238E27FC236}">
                <a16:creationId xmlns:a16="http://schemas.microsoft.com/office/drawing/2014/main" id="{36B32F22-CD03-F978-5847-196F9E4DF9F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2259" y="2217682"/>
            <a:ext cx="3794760" cy="307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968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AA39EA-A5D6-6FA8-06A7-B397D6041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motics SG Geared Motors</a:t>
            </a:r>
            <a:br>
              <a:rPr lang="en-US" dirty="0"/>
            </a:br>
            <a:r>
              <a:rPr lang="en-US" b="0" dirty="0"/>
              <a:t>New IEC Motor Adapter Generation KU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856003-62BE-42D0-3684-AE6D9636288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AE07DC-BFC2-BB8B-25D3-CA04A18309B3}"/>
              </a:ext>
            </a:extLst>
          </p:cNvPr>
          <p:cNvSpPr txBox="1"/>
          <p:nvPr/>
        </p:nvSpPr>
        <p:spPr>
          <a:xfrm>
            <a:off x="571500" y="2451733"/>
            <a:ext cx="6510370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Clr>
                <a:srgbClr val="E1F000"/>
              </a:buClr>
              <a:buFont typeface="Arial" panose="020B0604020202020204" pitchFamily="34" charset="0"/>
              <a:buChar char="+"/>
            </a:pPr>
            <a:r>
              <a:rPr lang="en-US" sz="1600" dirty="0">
                <a:solidFill>
                  <a:schemeClr val="lt1"/>
                </a:solidFill>
              </a:rPr>
              <a:t>Rugged, robust and failsafe design with elastic coupling</a:t>
            </a:r>
          </a:p>
          <a:p>
            <a:pPr marL="742950" lvl="1" indent="-285750">
              <a:buClr>
                <a:srgbClr val="E1F0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lt1"/>
                </a:solidFill>
              </a:rPr>
              <a:t>Absorption of shock loads &amp; vibrations </a:t>
            </a:r>
          </a:p>
          <a:p>
            <a:pPr marL="742950" lvl="1" indent="-285750">
              <a:buClr>
                <a:srgbClr val="E1F000"/>
              </a:buClr>
              <a:buFont typeface="Wingdings" panose="05000000000000000000" pitchFamily="2" charset="2"/>
              <a:buChar char="§"/>
            </a:pPr>
            <a:r>
              <a:rPr lang="de-DE" sz="1600" dirty="0" err="1">
                <a:solidFill>
                  <a:schemeClr val="lt1"/>
                </a:solidFill>
              </a:rPr>
              <a:t>Compensation</a:t>
            </a:r>
            <a:r>
              <a:rPr lang="de-DE" sz="1600" dirty="0">
                <a:solidFill>
                  <a:schemeClr val="lt1"/>
                </a:solidFill>
              </a:rPr>
              <a:t> </a:t>
            </a:r>
            <a:r>
              <a:rPr lang="de-DE" sz="1600" dirty="0" err="1">
                <a:solidFill>
                  <a:schemeClr val="lt1"/>
                </a:solidFill>
              </a:rPr>
              <a:t>of</a:t>
            </a:r>
            <a:r>
              <a:rPr lang="de-DE" sz="1600" dirty="0">
                <a:solidFill>
                  <a:schemeClr val="lt1"/>
                </a:solidFill>
              </a:rPr>
              <a:t> </a:t>
            </a:r>
            <a:r>
              <a:rPr lang="de-DE" sz="1600" dirty="0" err="1">
                <a:solidFill>
                  <a:schemeClr val="lt1"/>
                </a:solidFill>
              </a:rPr>
              <a:t>slight</a:t>
            </a:r>
            <a:r>
              <a:rPr lang="de-DE" sz="1600" dirty="0">
                <a:solidFill>
                  <a:schemeClr val="lt1"/>
                </a:solidFill>
              </a:rPr>
              <a:t> </a:t>
            </a:r>
            <a:r>
              <a:rPr lang="de-DE" sz="1600" dirty="0" err="1">
                <a:solidFill>
                  <a:schemeClr val="lt1"/>
                </a:solidFill>
              </a:rPr>
              <a:t>shaft</a:t>
            </a:r>
            <a:r>
              <a:rPr lang="de-DE" sz="1600" dirty="0">
                <a:solidFill>
                  <a:schemeClr val="lt1"/>
                </a:solidFill>
              </a:rPr>
              <a:t> </a:t>
            </a:r>
            <a:r>
              <a:rPr lang="de-DE" sz="1600" dirty="0" err="1">
                <a:solidFill>
                  <a:schemeClr val="lt1"/>
                </a:solidFill>
              </a:rPr>
              <a:t>displacements</a:t>
            </a:r>
            <a:endParaRPr lang="de-DE" sz="1600" dirty="0">
              <a:solidFill>
                <a:schemeClr val="lt1"/>
              </a:solidFill>
            </a:endParaRPr>
          </a:p>
          <a:p>
            <a:pPr marL="285750" indent="-285750">
              <a:buClr>
                <a:srgbClr val="E1F000"/>
              </a:buClr>
              <a:buFont typeface="Arial" panose="020B0604020202020204" pitchFamily="34" charset="0"/>
              <a:buChar char="+"/>
            </a:pPr>
            <a:r>
              <a:rPr lang="en-US" sz="1600" dirty="0">
                <a:solidFill>
                  <a:schemeClr val="lt1"/>
                </a:solidFill>
              </a:rPr>
              <a:t>Reinforced bearing option available </a:t>
            </a:r>
            <a:r>
              <a:rPr lang="en-US" sz="1600" dirty="0">
                <a:solidFill>
                  <a:schemeClr val="lt1"/>
                </a:solidFill>
                <a:sym typeface="Wingdings" panose="05000000000000000000" pitchFamily="2" charset="2"/>
              </a:rPr>
              <a:t>for higher input torques</a:t>
            </a:r>
            <a:endParaRPr lang="en-US" sz="1600" dirty="0">
              <a:solidFill>
                <a:schemeClr val="lt1"/>
              </a:solidFill>
            </a:endParaRPr>
          </a:p>
          <a:p>
            <a:pPr marL="285750" indent="-285750">
              <a:buClr>
                <a:srgbClr val="E1F000"/>
              </a:buClr>
              <a:buFont typeface="Arial" panose="020B0604020202020204" pitchFamily="34" charset="0"/>
              <a:buChar char="+"/>
            </a:pPr>
            <a:r>
              <a:rPr lang="en-US" sz="1600" dirty="0">
                <a:solidFill>
                  <a:schemeClr val="lt1"/>
                </a:solidFill>
              </a:rPr>
              <a:t>Sealing option for long service life</a:t>
            </a:r>
          </a:p>
          <a:p>
            <a:pPr marL="285750" indent="-285750">
              <a:buClr>
                <a:srgbClr val="E1F000"/>
              </a:buClr>
              <a:buFont typeface="Arial" panose="020B0604020202020204" pitchFamily="34" charset="0"/>
              <a:buChar char="+"/>
            </a:pPr>
            <a:r>
              <a:rPr lang="en-US" sz="1600" dirty="0">
                <a:solidFill>
                  <a:schemeClr val="lt1"/>
                </a:solidFill>
              </a:rPr>
              <a:t>FKM sealing option </a:t>
            </a:r>
          </a:p>
          <a:p>
            <a:pPr>
              <a:buClr>
                <a:srgbClr val="E1F000"/>
              </a:buClr>
            </a:pPr>
            <a:r>
              <a:rPr lang="de-DE" sz="1600" dirty="0">
                <a:solidFill>
                  <a:schemeClr val="lt1"/>
                </a:solidFill>
              </a:rPr>
              <a:t> </a:t>
            </a:r>
          </a:p>
        </p:txBody>
      </p:sp>
      <p:pic>
        <p:nvPicPr>
          <p:cNvPr id="11" name="Grafik 10" descr="Ein Bild, das Kamera, Kameras und Optik, optisches Instrument enthält.&#10;&#10;Automatisch generierte Beschreibung">
            <a:extLst>
              <a:ext uri="{FF2B5EF4-FFF2-40B4-BE49-F238E27FC236}">
                <a16:creationId xmlns:a16="http://schemas.microsoft.com/office/drawing/2014/main" id="{4ED284EC-E1BB-F443-67D2-7234617F220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645" y="2105261"/>
            <a:ext cx="4005072" cy="3273552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EB68DA3B-324C-9279-75AD-6760D1698B38}"/>
              </a:ext>
            </a:extLst>
          </p:cNvPr>
          <p:cNvSpPr txBox="1"/>
          <p:nvPr/>
        </p:nvSpPr>
        <p:spPr>
          <a:xfrm>
            <a:off x="9525769" y="5099516"/>
            <a:ext cx="214103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/>
              <a:t>Bevel gearbox with</a:t>
            </a:r>
          </a:p>
          <a:p>
            <a:pPr algn="l"/>
            <a:r>
              <a:rPr lang="en-US" sz="1200" dirty="0"/>
              <a:t>IEC motor adapt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F880483-81B5-774E-E34D-40E527F677E4}"/>
              </a:ext>
            </a:extLst>
          </p:cNvPr>
          <p:cNvSpPr/>
          <p:nvPr/>
        </p:nvSpPr>
        <p:spPr>
          <a:xfrm>
            <a:off x="403284" y="1479187"/>
            <a:ext cx="11385433" cy="4896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r>
              <a:rPr lang="en-US" b="1" dirty="0">
                <a:solidFill>
                  <a:sysClr val="windowText" lastClr="000000"/>
                </a:solidFill>
              </a:rPr>
              <a:t>Combining the Advantages of K2 and K4 Adapter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3EE929C-B75B-38A4-9C4C-F6547596A894}"/>
              </a:ext>
            </a:extLst>
          </p:cNvPr>
          <p:cNvSpPr/>
          <p:nvPr/>
        </p:nvSpPr>
        <p:spPr>
          <a:xfrm>
            <a:off x="403282" y="2143472"/>
            <a:ext cx="6407421" cy="2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ysClr val="windowText" lastClr="000000"/>
                </a:solidFill>
              </a:rPr>
              <a:t>Robus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9D15612-FED6-A7AE-736B-D61BADD09BC6}"/>
              </a:ext>
            </a:extLst>
          </p:cNvPr>
          <p:cNvSpPr/>
          <p:nvPr/>
        </p:nvSpPr>
        <p:spPr>
          <a:xfrm>
            <a:off x="391706" y="4102356"/>
            <a:ext cx="6407421" cy="2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ysClr val="windowText" lastClr="000000"/>
                </a:solidFill>
              </a:rPr>
              <a:t>Compac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2C254D3-502A-0E64-D346-CA62136B2763}"/>
              </a:ext>
            </a:extLst>
          </p:cNvPr>
          <p:cNvSpPr txBox="1"/>
          <p:nvPr/>
        </p:nvSpPr>
        <p:spPr>
          <a:xfrm>
            <a:off x="571500" y="4425263"/>
            <a:ext cx="876500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Clr>
                <a:srgbClr val="E1F000"/>
              </a:buClr>
              <a:buFont typeface="Arial" panose="020B0604020202020204" pitchFamily="34" charset="0"/>
              <a:buChar char="+"/>
            </a:pPr>
            <a:r>
              <a:rPr lang="en-US" sz="1600" dirty="0">
                <a:solidFill>
                  <a:schemeClr val="lt1"/>
                </a:solidFill>
              </a:rPr>
              <a:t>Very compact dimensions</a:t>
            </a:r>
          </a:p>
          <a:p>
            <a:pPr marL="285750" indent="-285750">
              <a:buClr>
                <a:srgbClr val="E1F000"/>
              </a:buClr>
              <a:buFont typeface="Arial" panose="020B0604020202020204" pitchFamily="34" charset="0"/>
              <a:buChar char="+"/>
            </a:pPr>
            <a:r>
              <a:rPr lang="en-US" sz="1600" dirty="0">
                <a:solidFill>
                  <a:schemeClr val="lt1"/>
                </a:solidFill>
              </a:rPr>
              <a:t>Length comparable to K4 adapter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906BDB2-910B-B6B7-2D20-1FEC448C58F5}"/>
              </a:ext>
            </a:extLst>
          </p:cNvPr>
          <p:cNvSpPr txBox="1"/>
          <p:nvPr/>
        </p:nvSpPr>
        <p:spPr>
          <a:xfrm>
            <a:off x="571500" y="5384085"/>
            <a:ext cx="72121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Clr>
                <a:srgbClr val="E1F000"/>
              </a:buClr>
              <a:buFont typeface="Arial" panose="020B0604020202020204" pitchFamily="34" charset="0"/>
              <a:buChar char="+"/>
            </a:pPr>
            <a:r>
              <a:rPr lang="en-US" sz="1600" dirty="0">
                <a:solidFill>
                  <a:schemeClr val="lt1"/>
                </a:solidFill>
              </a:rPr>
              <a:t>Broad motor portfolio accessible </a:t>
            </a:r>
          </a:p>
          <a:p>
            <a:pPr marL="285750" indent="-285750">
              <a:buClr>
                <a:srgbClr val="E1F000"/>
              </a:buClr>
              <a:buFont typeface="Arial" panose="020B0604020202020204" pitchFamily="34" charset="0"/>
              <a:buChar char="+"/>
            </a:pPr>
            <a:r>
              <a:rPr lang="en-US" sz="1600" dirty="0">
                <a:solidFill>
                  <a:schemeClr val="lt1"/>
                </a:solidFill>
              </a:rPr>
              <a:t>Easy motor assembly and disassembly</a:t>
            </a:r>
          </a:p>
          <a:p>
            <a:pPr marL="285750" indent="-285750">
              <a:buClr>
                <a:srgbClr val="E1F000"/>
              </a:buClr>
              <a:buFont typeface="Arial" panose="020B0604020202020204" pitchFamily="34" charset="0"/>
              <a:buChar char="+"/>
            </a:pPr>
            <a:r>
              <a:rPr lang="en-US" sz="1600" dirty="0">
                <a:solidFill>
                  <a:schemeClr val="lt1"/>
                </a:solidFill>
              </a:rPr>
              <a:t>Portfolio complexity reduction (universal adapter replaces K4 and K2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0756C07-7324-8263-8C69-4363C46A65F2}"/>
              </a:ext>
            </a:extLst>
          </p:cNvPr>
          <p:cNvSpPr/>
          <p:nvPr/>
        </p:nvSpPr>
        <p:spPr>
          <a:xfrm>
            <a:off x="403280" y="5058053"/>
            <a:ext cx="6395847" cy="2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ysClr val="windowText" lastClr="000000"/>
                </a:solidFill>
              </a:rPr>
              <a:t>Universal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E57AB18-A2B3-2DE6-E936-28073D8C2D17}"/>
              </a:ext>
            </a:extLst>
          </p:cNvPr>
          <p:cNvSpPr txBox="1"/>
          <p:nvPr/>
        </p:nvSpPr>
        <p:spPr>
          <a:xfrm rot="724443">
            <a:off x="8942359" y="519257"/>
            <a:ext cx="31948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</a:rPr>
              <a:t>NEW!</a:t>
            </a:r>
          </a:p>
        </p:txBody>
      </p:sp>
    </p:spTree>
    <p:extLst>
      <p:ext uri="{BB962C8B-B14F-4D97-AF65-F5344CB8AC3E}">
        <p14:creationId xmlns:p14="http://schemas.microsoft.com/office/powerpoint/2010/main" val="18444836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hteck 41">
            <a:extLst>
              <a:ext uri="{FF2B5EF4-FFF2-40B4-BE49-F238E27FC236}">
                <a16:creationId xmlns:a16="http://schemas.microsoft.com/office/drawing/2014/main" id="{87839675-ED98-68EB-8BB6-A9D5C317BDA8}"/>
              </a:ext>
            </a:extLst>
          </p:cNvPr>
          <p:cNvSpPr/>
          <p:nvPr/>
        </p:nvSpPr>
        <p:spPr>
          <a:xfrm>
            <a:off x="4224000" y="1479186"/>
            <a:ext cx="3744000" cy="4308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>
                <a:solidFill>
                  <a:schemeClr val="bg1"/>
                </a:solidFill>
              </a:rPr>
              <a:t>Compact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98532C7-ADD1-3FD2-D1D8-5B2EDA61DAF8}"/>
              </a:ext>
            </a:extLst>
          </p:cNvPr>
          <p:cNvSpPr/>
          <p:nvPr/>
        </p:nvSpPr>
        <p:spPr>
          <a:xfrm>
            <a:off x="8046278" y="1479186"/>
            <a:ext cx="3744000" cy="4308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>
                <a:solidFill>
                  <a:schemeClr val="bg1"/>
                </a:solidFill>
              </a:rPr>
              <a:t>Universal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E2EEA65-A56B-4E6C-1F15-312274209C3E}"/>
              </a:ext>
            </a:extLst>
          </p:cNvPr>
          <p:cNvSpPr/>
          <p:nvPr/>
        </p:nvSpPr>
        <p:spPr>
          <a:xfrm>
            <a:off x="403283" y="1479186"/>
            <a:ext cx="3744000" cy="4308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Robus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1AA39EA-A5D6-6FA8-06A7-B397D6041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motics SG Geared Motors</a:t>
            </a:r>
            <a:br>
              <a:rPr lang="en-US" dirty="0"/>
            </a:br>
            <a:r>
              <a:rPr lang="en-US" b="0" dirty="0"/>
              <a:t>New IEC Motor Adapter Generation KU</a:t>
            </a:r>
          </a:p>
        </p:txBody>
      </p:sp>
      <p:graphicFrame>
        <p:nvGraphicFramePr>
          <p:cNvPr id="3" name="Tabelle 5">
            <a:extLst>
              <a:ext uri="{FF2B5EF4-FFF2-40B4-BE49-F238E27FC236}">
                <a16:creationId xmlns:a16="http://schemas.microsoft.com/office/drawing/2014/main" id="{CD9776D1-D335-0EAC-F984-7CA80B100AD0}"/>
              </a:ext>
            </a:extLst>
          </p:cNvPr>
          <p:cNvGraphicFramePr>
            <a:graphicFrameLocks noGrp="1"/>
          </p:cNvGraphicFramePr>
          <p:nvPr>
            <p:ph type="tbl" sz="quarter" idx="13"/>
            <p:extLst>
              <p:ext uri="{D42A27DB-BD31-4B8C-83A1-F6EECF244321}">
                <p14:modId xmlns:p14="http://schemas.microsoft.com/office/powerpoint/2010/main" val="233616630"/>
              </p:ext>
            </p:extLst>
          </p:nvPr>
        </p:nvGraphicFramePr>
        <p:xfrm>
          <a:off x="4545333" y="2873014"/>
          <a:ext cx="3101333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7060">
                  <a:extLst>
                    <a:ext uri="{9D8B030D-6E8A-4147-A177-3AD203B41FA5}">
                      <a16:colId xmlns:a16="http://schemas.microsoft.com/office/drawing/2014/main" val="1112625910"/>
                    </a:ext>
                  </a:extLst>
                </a:gridCol>
                <a:gridCol w="1275867">
                  <a:extLst>
                    <a:ext uri="{9D8B030D-6E8A-4147-A177-3AD203B41FA5}">
                      <a16:colId xmlns:a16="http://schemas.microsoft.com/office/drawing/2014/main" val="3150701957"/>
                    </a:ext>
                  </a:extLst>
                </a:gridCol>
                <a:gridCol w="1348406">
                  <a:extLst>
                    <a:ext uri="{9D8B030D-6E8A-4147-A177-3AD203B41FA5}">
                      <a16:colId xmlns:a16="http://schemas.microsoft.com/office/drawing/2014/main" val="3740945563"/>
                    </a:ext>
                  </a:extLst>
                </a:gridCol>
              </a:tblGrid>
              <a:tr h="363928">
                <a:tc>
                  <a:txBody>
                    <a:bodyPr/>
                    <a:lstStyle/>
                    <a:p>
                      <a:pPr algn="ctr"/>
                      <a:r>
                        <a:rPr lang="de-DE" sz="1000" b="1" dirty="0">
                          <a:solidFill>
                            <a:schemeClr val="tx1"/>
                          </a:solidFill>
                        </a:rPr>
                        <a:t>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Wingdings 3" panose="05040102010807070707" pitchFamily="18" charset="2"/>
                        <a:buChar char="r"/>
                      </a:pPr>
                      <a:r>
                        <a:rPr lang="de-DE" sz="1000" b="1" dirty="0">
                          <a:solidFill>
                            <a:schemeClr val="tx1"/>
                          </a:solidFill>
                        </a:rPr>
                        <a:t>KU vs. K2 </a:t>
                      </a:r>
                    </a:p>
                    <a:p>
                      <a:pPr marL="0" indent="0" algn="ctr">
                        <a:buFont typeface="Wingdings 3" panose="05040102010807070707" pitchFamily="18" charset="2"/>
                        <a:buNone/>
                      </a:pPr>
                      <a:r>
                        <a:rPr lang="de-DE" sz="1000" b="0" dirty="0">
                          <a:solidFill>
                            <a:schemeClr val="tx1"/>
                          </a:solidFill>
                        </a:rPr>
                        <a:t>[mm]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Wingdings 3" panose="05040102010807070707" pitchFamily="18" charset="2"/>
                        <a:buChar char="r"/>
                      </a:pPr>
                      <a:r>
                        <a:rPr lang="en-US" sz="1000" b="1" noProof="0" dirty="0">
                          <a:solidFill>
                            <a:schemeClr val="tx1"/>
                          </a:solidFill>
                        </a:rPr>
                        <a:t> KU vs.</a:t>
                      </a:r>
                      <a:r>
                        <a:rPr lang="de-DE" sz="1000" b="1" dirty="0">
                          <a:solidFill>
                            <a:schemeClr val="tx1"/>
                          </a:solidFill>
                        </a:rPr>
                        <a:t> K4</a:t>
                      </a:r>
                    </a:p>
                    <a:p>
                      <a:pPr marL="0" indent="0" algn="ctr">
                        <a:buFont typeface="Wingdings 3" panose="05040102010807070707" pitchFamily="18" charset="2"/>
                        <a:buNone/>
                      </a:pPr>
                      <a:r>
                        <a:rPr lang="de-DE" sz="1000" b="0" dirty="0">
                          <a:solidFill>
                            <a:schemeClr val="tx1"/>
                          </a:solidFill>
                        </a:rPr>
                        <a:t>[mm]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169944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6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--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2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725214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7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--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017579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91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334642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9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91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353557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98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13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6159399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11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98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13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1125257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13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139 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830613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16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155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804661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18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155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1698547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20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165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615727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22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180</a:t>
                      </a:r>
                    </a:p>
                  </a:txBody>
                  <a:tcPr anchor="ctr"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26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7628456"/>
                  </a:ext>
                </a:extLst>
              </a:tr>
              <a:tr h="206226"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25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2"/>
                          </a:solidFill>
                        </a:rPr>
                        <a:t>-203</a:t>
                      </a: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19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162826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746344E-4C54-F992-F3F7-3B357693E54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98F3CE2-ED35-DCA7-7435-087050BC4842}"/>
              </a:ext>
            </a:extLst>
          </p:cNvPr>
          <p:cNvSpPr txBox="1"/>
          <p:nvPr/>
        </p:nvSpPr>
        <p:spPr>
          <a:xfrm>
            <a:off x="549083" y="2345589"/>
            <a:ext cx="34524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Elimination of K4/K2 “weak spots”.</a:t>
            </a:r>
          </a:p>
          <a:p>
            <a:pPr algn="ctr"/>
            <a:r>
              <a:rPr lang="en-US" sz="1400" dirty="0"/>
              <a:t>Average increase in allowable input torques (T</a:t>
            </a:r>
            <a:r>
              <a:rPr lang="en-US" sz="1400" baseline="-25000" dirty="0"/>
              <a:t>1zul</a:t>
            </a:r>
            <a:r>
              <a:rPr lang="en-US" sz="1400" dirty="0"/>
              <a:t>)  of &gt;20% with reinforced bearing option.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F145E05B-EAB6-EA39-CDAF-AFFC7FD04ADB}"/>
              </a:ext>
            </a:extLst>
          </p:cNvPr>
          <p:cNvGrpSpPr/>
          <p:nvPr/>
        </p:nvGrpSpPr>
        <p:grpSpPr>
          <a:xfrm>
            <a:off x="1446124" y="3063113"/>
            <a:ext cx="2498893" cy="1379621"/>
            <a:chOff x="4679088" y="2874014"/>
            <a:chExt cx="2498893" cy="1379621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D0271F82-D788-8F63-3FC7-9374639F4D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9088" y="2874014"/>
              <a:ext cx="1379621" cy="1379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E6C5720-1BBC-E345-2D60-C762ADDE5DB9}"/>
                </a:ext>
              </a:extLst>
            </p:cNvPr>
            <p:cNvSpPr txBox="1"/>
            <p:nvPr/>
          </p:nvSpPr>
          <p:spPr>
            <a:xfrm>
              <a:off x="6150649" y="3429000"/>
              <a:ext cx="102733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tx2"/>
                  </a:solidFill>
                </a:rPr>
                <a:t>T</a:t>
              </a:r>
              <a:r>
                <a:rPr lang="en-US" sz="1600" baseline="-25000" dirty="0">
                  <a:solidFill>
                    <a:schemeClr val="tx2"/>
                  </a:solidFill>
                </a:rPr>
                <a:t>1zul</a:t>
              </a:r>
            </a:p>
          </p:txBody>
        </p: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BEB0AE0B-EFD2-521C-FEAD-CCB6A80F9C37}"/>
                </a:ext>
              </a:extLst>
            </p:cNvPr>
            <p:cNvCxnSpPr>
              <a:cxnSpLocks/>
            </p:cNvCxnSpPr>
            <p:nvPr/>
          </p:nvCxnSpPr>
          <p:spPr>
            <a:xfrm>
              <a:off x="5725316" y="3768049"/>
              <a:ext cx="665630" cy="176585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Pfeil: nach links gekrümmt 36">
              <a:extLst>
                <a:ext uri="{FF2B5EF4-FFF2-40B4-BE49-F238E27FC236}">
                  <a16:creationId xmlns:a16="http://schemas.microsoft.com/office/drawing/2014/main" id="{7D85DE20-EFD2-D928-DDCC-60A1A6649D86}"/>
                </a:ext>
              </a:extLst>
            </p:cNvPr>
            <p:cNvSpPr/>
            <p:nvPr/>
          </p:nvSpPr>
          <p:spPr>
            <a:xfrm rot="6141127">
              <a:off x="6045256" y="3721621"/>
              <a:ext cx="274412" cy="359453"/>
            </a:xfrm>
            <a:prstGeom prst="curvedLeftArrow">
              <a:avLst>
                <a:gd name="adj1" fmla="val 5249"/>
                <a:gd name="adj2" fmla="val 50000"/>
                <a:gd name="adj3" fmla="val 25000"/>
              </a:avLst>
            </a:prstGeom>
            <a:solidFill>
              <a:srgbClr val="E1F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algn="l"/>
              <a:endParaRPr lang="en-US" sz="1600" dirty="0" err="1">
                <a:solidFill>
                  <a:schemeClr val="tx2"/>
                </a:solidFill>
              </a:endParaRPr>
            </a:p>
          </p:txBody>
        </p:sp>
      </p:grpSp>
      <p:sp>
        <p:nvSpPr>
          <p:cNvPr id="39" name="Textfeld 38">
            <a:extLst>
              <a:ext uri="{FF2B5EF4-FFF2-40B4-BE49-F238E27FC236}">
                <a16:creationId xmlns:a16="http://schemas.microsoft.com/office/drawing/2014/main" id="{DC3FE700-0784-2F0E-F0ED-E1C55B91C6CC}"/>
              </a:ext>
            </a:extLst>
          </p:cNvPr>
          <p:cNvSpPr txBox="1"/>
          <p:nvPr/>
        </p:nvSpPr>
        <p:spPr>
          <a:xfrm>
            <a:off x="8168100" y="2345589"/>
            <a:ext cx="3452400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dirty="0"/>
              <a:t>KU </a:t>
            </a:r>
            <a:r>
              <a:rPr lang="de-DE" sz="1400" dirty="0" err="1"/>
              <a:t>adapter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designed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IEC </a:t>
            </a:r>
            <a:r>
              <a:rPr lang="de-DE" sz="1400" dirty="0" err="1"/>
              <a:t>motor</a:t>
            </a:r>
            <a:r>
              <a:rPr lang="de-DE" sz="1400" dirty="0"/>
              <a:t> </a:t>
            </a:r>
            <a:r>
              <a:rPr lang="de-DE" sz="1400" dirty="0" err="1"/>
              <a:t>flange</a:t>
            </a:r>
            <a:r>
              <a:rPr lang="de-DE" sz="1400" dirty="0"/>
              <a:t> design B5 – </a:t>
            </a:r>
            <a:r>
              <a:rPr lang="de-DE" sz="1400" b="1" dirty="0" err="1">
                <a:solidFill>
                  <a:schemeClr val="tx2"/>
                </a:solidFill>
              </a:rPr>
              <a:t>gearboxes</a:t>
            </a:r>
            <a:r>
              <a:rPr lang="de-DE" sz="1400" b="1" dirty="0">
                <a:solidFill>
                  <a:schemeClr val="tx2"/>
                </a:solidFill>
              </a:rPr>
              <a:t> </a:t>
            </a:r>
            <a:r>
              <a:rPr lang="de-DE" sz="1400" b="1" dirty="0" err="1">
                <a:solidFill>
                  <a:schemeClr val="tx2"/>
                </a:solidFill>
              </a:rPr>
              <a:t>with</a:t>
            </a:r>
            <a:r>
              <a:rPr lang="de-DE" sz="1400" b="1" dirty="0">
                <a:solidFill>
                  <a:schemeClr val="tx2"/>
                </a:solidFill>
              </a:rPr>
              <a:t> K2/K4 and </a:t>
            </a:r>
            <a:r>
              <a:rPr lang="de-DE" sz="1400" b="1" dirty="0" err="1">
                <a:solidFill>
                  <a:schemeClr val="tx2"/>
                </a:solidFill>
              </a:rPr>
              <a:t>competitor</a:t>
            </a:r>
            <a:r>
              <a:rPr lang="de-DE" sz="1400" b="1" dirty="0">
                <a:solidFill>
                  <a:schemeClr val="tx2"/>
                </a:solidFill>
              </a:rPr>
              <a:t> </a:t>
            </a:r>
            <a:r>
              <a:rPr lang="de-DE" sz="1400" b="1" dirty="0" err="1">
                <a:solidFill>
                  <a:schemeClr val="tx2"/>
                </a:solidFill>
              </a:rPr>
              <a:t>products</a:t>
            </a:r>
            <a:r>
              <a:rPr lang="de-DE" sz="1400" b="1" dirty="0">
                <a:solidFill>
                  <a:schemeClr val="tx2"/>
                </a:solidFill>
              </a:rPr>
              <a:t> </a:t>
            </a:r>
            <a:r>
              <a:rPr lang="de-DE" sz="1400" b="1" dirty="0" err="1">
                <a:solidFill>
                  <a:schemeClr val="tx2"/>
                </a:solidFill>
              </a:rPr>
              <a:t>easily</a:t>
            </a:r>
            <a:r>
              <a:rPr lang="de-DE" sz="1400" b="1" dirty="0">
                <a:solidFill>
                  <a:schemeClr val="tx2"/>
                </a:solidFill>
              </a:rPr>
              <a:t> </a:t>
            </a:r>
            <a:r>
              <a:rPr lang="de-DE" sz="1400" b="1" dirty="0" err="1">
                <a:solidFill>
                  <a:schemeClr val="tx2"/>
                </a:solidFill>
              </a:rPr>
              <a:t>replaceable</a:t>
            </a:r>
            <a:r>
              <a:rPr lang="de-DE" sz="1400" b="1" dirty="0">
                <a:solidFill>
                  <a:schemeClr val="tx2"/>
                </a:solidFill>
              </a:rPr>
              <a:t>.</a:t>
            </a:r>
          </a:p>
          <a:p>
            <a:pPr algn="ctr"/>
            <a:r>
              <a:rPr lang="de-DE" sz="1000" dirty="0"/>
              <a:t>  </a:t>
            </a:r>
          </a:p>
          <a:p>
            <a:pPr algn="ctr"/>
            <a:r>
              <a:rPr lang="de-DE" sz="1400" dirty="0" err="1"/>
              <a:t>Combination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KU </a:t>
            </a:r>
            <a:r>
              <a:rPr lang="de-DE" sz="1400" dirty="0" err="1"/>
              <a:t>adapters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gearboxes</a:t>
            </a:r>
            <a:r>
              <a:rPr lang="de-DE" sz="1400" dirty="0"/>
              <a:t> – </a:t>
            </a:r>
            <a:r>
              <a:rPr lang="de-DE" sz="1400" b="1" dirty="0">
                <a:solidFill>
                  <a:srgbClr val="E1F000"/>
                </a:solidFill>
              </a:rPr>
              <a:t>all K2/K4-gearbox </a:t>
            </a:r>
            <a:r>
              <a:rPr lang="de-DE" sz="1400" b="1" dirty="0" err="1">
                <a:solidFill>
                  <a:srgbClr val="E1F000"/>
                </a:solidFill>
              </a:rPr>
              <a:t>combinations</a:t>
            </a:r>
            <a:r>
              <a:rPr lang="de-DE" sz="1400" b="1" dirty="0">
                <a:solidFill>
                  <a:srgbClr val="E1F000"/>
                </a:solidFill>
              </a:rPr>
              <a:t> </a:t>
            </a:r>
            <a:r>
              <a:rPr lang="de-DE" sz="1400" b="1" dirty="0" err="1">
                <a:solidFill>
                  <a:srgbClr val="E1F000"/>
                </a:solidFill>
              </a:rPr>
              <a:t>available</a:t>
            </a:r>
            <a:r>
              <a:rPr lang="de-DE" sz="1400" b="1" dirty="0">
                <a:solidFill>
                  <a:srgbClr val="E1F000"/>
                </a:solidFill>
              </a:rPr>
              <a:t>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2AECFB5-D6F0-B7AC-F236-B9FD9C1A5D14}"/>
              </a:ext>
            </a:extLst>
          </p:cNvPr>
          <p:cNvSpPr/>
          <p:nvPr/>
        </p:nvSpPr>
        <p:spPr>
          <a:xfrm>
            <a:off x="8046278" y="4078247"/>
            <a:ext cx="3744000" cy="188190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>
              <a:spcAft>
                <a:spcPts val="600"/>
              </a:spcAft>
            </a:pPr>
            <a:r>
              <a:rPr lang="en-US" sz="1600" b="1" u="sng" dirty="0">
                <a:solidFill>
                  <a:sysClr val="windowText" lastClr="000000"/>
                </a:solidFill>
              </a:rPr>
              <a:t>MLFB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2KJ3xxx-xxA0</a:t>
            </a:r>
            <a:r>
              <a:rPr lang="en-US" sz="1400" dirty="0">
                <a:solidFill>
                  <a:schemeClr val="tx2"/>
                </a:solidFill>
                <a:highlight>
                  <a:srgbClr val="000000"/>
                </a:highlight>
              </a:rPr>
              <a:t>9</a:t>
            </a:r>
            <a:r>
              <a:rPr lang="en-US" sz="1400" dirty="0">
                <a:solidFill>
                  <a:schemeClr val="bg1"/>
                </a:solidFill>
              </a:rPr>
              <a:t>-xxxx-Z </a:t>
            </a:r>
            <a:r>
              <a:rPr lang="en-US" sz="1400" dirty="0">
                <a:solidFill>
                  <a:schemeClr val="tx2"/>
                </a:solidFill>
                <a:highlight>
                  <a:srgbClr val="000000"/>
                </a:highlight>
              </a:rPr>
              <a:t>M2A</a:t>
            </a:r>
          </a:p>
          <a:p>
            <a:pPr>
              <a:spcAft>
                <a:spcPts val="600"/>
              </a:spcAft>
            </a:pPr>
            <a:r>
              <a:rPr lang="en-US" sz="600" b="1" dirty="0">
                <a:solidFill>
                  <a:schemeClr val="bg1"/>
                </a:solidFill>
              </a:rPr>
              <a:t>  </a:t>
            </a:r>
            <a:endParaRPr lang="en-US" sz="1600" b="1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b="1" u="sng" dirty="0">
                <a:solidFill>
                  <a:schemeClr val="bg1"/>
                </a:solidFill>
              </a:rPr>
              <a:t>Order codes</a:t>
            </a:r>
          </a:p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</a:rPr>
              <a:t>A30       </a:t>
            </a:r>
            <a:r>
              <a:rPr lang="en-US" sz="1200" dirty="0">
                <a:solidFill>
                  <a:schemeClr val="bg1"/>
                </a:solidFill>
              </a:rPr>
              <a:t>Reinforced bearing</a:t>
            </a:r>
          </a:p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</a:rPr>
              <a:t>A35       </a:t>
            </a:r>
            <a:r>
              <a:rPr lang="en-US" sz="1200" dirty="0">
                <a:solidFill>
                  <a:schemeClr val="bg1"/>
                </a:solidFill>
              </a:rPr>
              <a:t>FKM sealing</a:t>
            </a:r>
          </a:p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</a:rPr>
              <a:t>A36       </a:t>
            </a:r>
            <a:r>
              <a:rPr lang="en-US" sz="1200" dirty="0">
                <a:solidFill>
                  <a:schemeClr val="bg1"/>
                </a:solidFill>
              </a:rPr>
              <a:t>Sealing long service life</a:t>
            </a:r>
          </a:p>
          <a:p>
            <a:pPr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  <a:highlight>
                <a:srgbClr val="000000"/>
              </a:highlight>
            </a:endParaRPr>
          </a:p>
          <a:p>
            <a:pPr>
              <a:spcAft>
                <a:spcPts val="600"/>
              </a:spcAft>
            </a:pP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C0D353B-9712-878B-C04C-992DF3B9D8A0}"/>
              </a:ext>
            </a:extLst>
          </p:cNvPr>
          <p:cNvSpPr txBox="1"/>
          <p:nvPr/>
        </p:nvSpPr>
        <p:spPr>
          <a:xfrm>
            <a:off x="549083" y="5019198"/>
            <a:ext cx="34524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Adapter sealing options to increase allowable input speed and service life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2D18DF3-7AD1-6713-F736-18E8FA229F2C}"/>
              </a:ext>
            </a:extLst>
          </p:cNvPr>
          <p:cNvSpPr txBox="1"/>
          <p:nvPr/>
        </p:nvSpPr>
        <p:spPr>
          <a:xfrm>
            <a:off x="812243" y="2054302"/>
            <a:ext cx="29260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Allowable Input Torque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51C3588-AC9B-860E-9BBD-E7FA9C56A556}"/>
              </a:ext>
            </a:extLst>
          </p:cNvPr>
          <p:cNvSpPr txBox="1"/>
          <p:nvPr/>
        </p:nvSpPr>
        <p:spPr>
          <a:xfrm>
            <a:off x="812243" y="4710197"/>
            <a:ext cx="29260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Sealing Options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3DF56C7-F621-4BFF-4B9E-DDD97DEAE754}"/>
              </a:ext>
            </a:extLst>
          </p:cNvPr>
          <p:cNvSpPr txBox="1"/>
          <p:nvPr/>
        </p:nvSpPr>
        <p:spPr>
          <a:xfrm>
            <a:off x="4632959" y="2054302"/>
            <a:ext cx="29260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Optimized Adapter Length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D73077-2ADF-74CF-0032-B69198F00389}"/>
              </a:ext>
            </a:extLst>
          </p:cNvPr>
          <p:cNvSpPr txBox="1"/>
          <p:nvPr/>
        </p:nvSpPr>
        <p:spPr>
          <a:xfrm>
            <a:off x="4369799" y="2345589"/>
            <a:ext cx="34524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KU is significantly shorter than K2. </a:t>
            </a:r>
          </a:p>
          <a:p>
            <a:pPr algn="ctr"/>
            <a:r>
              <a:rPr lang="en-US" sz="1400" dirty="0"/>
              <a:t>Dimensions comparable to K4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CA14283-B516-B5A0-6E5C-39A720BEAC77}"/>
              </a:ext>
            </a:extLst>
          </p:cNvPr>
          <p:cNvSpPr txBox="1"/>
          <p:nvPr/>
        </p:nvSpPr>
        <p:spPr>
          <a:xfrm>
            <a:off x="8455238" y="2054301"/>
            <a:ext cx="29260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High Compatibilit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B5018A4-F52D-A6BE-9453-71128BF464F4}"/>
              </a:ext>
            </a:extLst>
          </p:cNvPr>
          <p:cNvSpPr txBox="1"/>
          <p:nvPr/>
        </p:nvSpPr>
        <p:spPr>
          <a:xfrm rot="724443">
            <a:off x="8942359" y="519257"/>
            <a:ext cx="31948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</a:rPr>
              <a:t>NEW!</a:t>
            </a:r>
          </a:p>
        </p:txBody>
      </p:sp>
    </p:spTree>
    <p:extLst>
      <p:ext uri="{BB962C8B-B14F-4D97-AF65-F5344CB8AC3E}">
        <p14:creationId xmlns:p14="http://schemas.microsoft.com/office/powerpoint/2010/main" val="34878535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5C6ECB-817D-F1C1-9D26-81EFF53EA3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motics SG Geared Motors</a:t>
            </a:r>
            <a:br>
              <a:rPr lang="en-US" dirty="0"/>
            </a:br>
            <a:r>
              <a:rPr lang="en-US" b="0" dirty="0"/>
              <a:t>New IEC Motor Adapter Generation KU</a:t>
            </a:r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110C4A6-399D-0B3C-A910-7334F1B3EE5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graphicFrame>
        <p:nvGraphicFramePr>
          <p:cNvPr id="4" name="Inhaltsplatzhalter 11">
            <a:extLst>
              <a:ext uri="{FF2B5EF4-FFF2-40B4-BE49-F238E27FC236}">
                <a16:creationId xmlns:a16="http://schemas.microsoft.com/office/drawing/2014/main" id="{9D58C8D1-9EAC-CA1B-D1FA-27C04AF0021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866290"/>
              </p:ext>
            </p:extLst>
          </p:nvPr>
        </p:nvGraphicFramePr>
        <p:xfrm>
          <a:off x="4368114" y="1450413"/>
          <a:ext cx="7341537" cy="5033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51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18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545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1342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1600" noProof="0" dirty="0">
                          <a:solidFill>
                            <a:schemeClr val="bg1"/>
                          </a:solidFill>
                        </a:rPr>
                        <a:t>Features / Function</a:t>
                      </a:r>
                    </a:p>
                  </a:txBody>
                  <a:tcPr marL="96000" marR="48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endParaRPr lang="en-US" sz="1600" noProof="0" dirty="0">
                        <a:solidFill>
                          <a:srgbClr val="AAB414"/>
                        </a:solidFill>
                      </a:endParaRPr>
                    </a:p>
                  </a:txBody>
                  <a:tcPr marL="96000" marR="48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1600" noProof="0" dirty="0">
                          <a:solidFill>
                            <a:schemeClr val="bg1"/>
                          </a:solidFill>
                        </a:rPr>
                        <a:t>Benefits</a:t>
                      </a:r>
                    </a:p>
                  </a:txBody>
                  <a:tcPr marL="96000" marR="48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208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altLang="de-DE" sz="14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e</a:t>
                      </a:r>
                      <a:r>
                        <a:rPr lang="de-DE" altLang="de-DE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niversal </a:t>
                      </a:r>
                      <a:r>
                        <a:rPr lang="de-DE" altLang="de-DE" sz="14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  <a:r>
                        <a:rPr lang="de-DE" altLang="de-DE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altLang="de-DE" sz="14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altLang="de-DE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ll IEC </a:t>
                      </a:r>
                      <a:r>
                        <a:rPr lang="de-DE" altLang="de-DE" sz="14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tors</a:t>
                      </a:r>
                      <a:r>
                        <a:rPr lang="de-DE" altLang="de-DE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endParaRPr lang="en-US" sz="1400" b="0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sz="1400" dirty="0">
                          <a:solidFill>
                            <a:schemeClr val="tx2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400" b="1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plexity</a:t>
                      </a:r>
                      <a:r>
                        <a:rPr lang="de-DE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duction</a:t>
                      </a:r>
                      <a:r>
                        <a:rPr lang="de-DE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orter</a:t>
                      </a:r>
                      <a:r>
                        <a:rPr lang="de-DE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livery</a:t>
                      </a:r>
                      <a:r>
                        <a:rPr lang="de-DE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mes</a:t>
                      </a:r>
                      <a:r>
                        <a:rPr lang="de-DE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de-DE" sz="1200" b="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</a:t>
                      </a:r>
                      <a:r>
                        <a:rPr lang="de-DE" sz="12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200" b="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2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ll </a:t>
                      </a:r>
                      <a:r>
                        <a:rPr lang="de-DE" sz="1200" b="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zes</a:t>
                      </a:r>
                      <a:r>
                        <a:rPr lang="de-DE" sz="12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4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2367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w design combining advantages of K2 and K4 adapters.</a:t>
                      </a:r>
                    </a:p>
                  </a:txBody>
                  <a:tcPr marL="96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2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ry short </a:t>
                      </a:r>
                      <a:r>
                        <a:rPr lang="en-US" sz="14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 yet </a:t>
                      </a:r>
                      <a:r>
                        <a:rPr lang="en-US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bust and rugged design</a:t>
                      </a:r>
                      <a:endParaRPr lang="en-US" sz="14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423887"/>
                  </a:ext>
                </a:extLst>
              </a:tr>
              <a:tr h="712367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apter concept with coupling</a:t>
                      </a:r>
                    </a:p>
                  </a:txBody>
                  <a:tcPr marL="96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2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asy and fast motor assembly and disassembly </a:t>
                      </a:r>
                      <a:r>
                        <a:rPr lang="en-US" sz="1400" b="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fast and efficient motor replacement</a:t>
                      </a:r>
                      <a:endParaRPr lang="en-GB" sz="14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0343941"/>
                  </a:ext>
                </a:extLst>
              </a:tr>
              <a:tr h="71236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lexible backlash free elastomer coupling</a:t>
                      </a:r>
                    </a:p>
                  </a:txBody>
                  <a:tcPr marL="96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sz="1400" dirty="0">
                          <a:solidFill>
                            <a:schemeClr val="tx2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GB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ng adapter service life </a:t>
                      </a:r>
                      <a:r>
                        <a:rPr lang="en-GB" sz="14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ue to </a:t>
                      </a:r>
                      <a:r>
                        <a:rPr lang="en-US" sz="1400" b="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GB" sz="14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sorption</a:t>
                      </a:r>
                      <a:r>
                        <a:rPr lang="en-GB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f shock loads &amp; vibrations as well as compensation of slight shaft displacements</a:t>
                      </a:r>
                      <a:endParaRPr lang="en-US" sz="14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236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ariable bearing and sealing options</a:t>
                      </a:r>
                    </a:p>
                  </a:txBody>
                  <a:tcPr marL="96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2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right adapter </a:t>
                      </a:r>
                      <a:r>
                        <a:rPr lang="en-US" sz="14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every application</a:t>
                      </a:r>
                    </a:p>
                  </a:txBody>
                  <a:tcPr marL="144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783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different gear types 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helical, parallel,</a:t>
                      </a:r>
                      <a:r>
                        <a:rPr lang="en-US" sz="14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evel </a:t>
                      </a:r>
                      <a:r>
                        <a:rPr lang="en-US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 helical-worm gear units)</a:t>
                      </a:r>
                    </a:p>
                  </a:txBody>
                  <a:tcPr marL="96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2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right gearbox-adapter combination </a:t>
                      </a:r>
                      <a:r>
                        <a:rPr lang="en-US" sz="1400" b="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every application</a:t>
                      </a:r>
                      <a:endParaRPr lang="en-US" sz="14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96000" marT="53972" marB="5397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806873"/>
                  </a:ext>
                </a:extLst>
              </a:tr>
            </a:tbl>
          </a:graphicData>
        </a:graphic>
      </p:graphicFrame>
      <p:pic>
        <p:nvPicPr>
          <p:cNvPr id="8" name="Grafik 7" descr="Ein Bild, das Autoteile, Maschine, Metall, Rotor enthält.&#10;&#10;Automatisch generierte Beschreibung">
            <a:extLst>
              <a:ext uri="{FF2B5EF4-FFF2-40B4-BE49-F238E27FC236}">
                <a16:creationId xmlns:a16="http://schemas.microsoft.com/office/drawing/2014/main" id="{C6B72BEB-1336-904D-D798-540000D0DD6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496" y="2428031"/>
            <a:ext cx="3404986" cy="2762278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597B35C1-0020-1A9A-D13F-C558A398A00C}"/>
              </a:ext>
            </a:extLst>
          </p:cNvPr>
          <p:cNvSpPr txBox="1"/>
          <p:nvPr/>
        </p:nvSpPr>
        <p:spPr>
          <a:xfrm rot="724443">
            <a:off x="8942359" y="519257"/>
            <a:ext cx="31948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</a:rPr>
              <a:t>NEW!</a:t>
            </a:r>
          </a:p>
        </p:txBody>
      </p:sp>
    </p:spTree>
    <p:extLst>
      <p:ext uri="{BB962C8B-B14F-4D97-AF65-F5344CB8AC3E}">
        <p14:creationId xmlns:p14="http://schemas.microsoft.com/office/powerpoint/2010/main" val="31710021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0B310C-8157-FA8B-816A-A71F029FF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motics SG Geared Motors</a:t>
            </a:r>
            <a:br>
              <a:rPr lang="en-US" dirty="0"/>
            </a:br>
            <a:r>
              <a:rPr lang="en-US" b="0" dirty="0"/>
              <a:t>New IEC Motor Adapter Generation KU</a:t>
            </a:r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6B8D9B0-1EDD-6FC8-6CF0-3D813BCB0C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57A3C039-B349-2CAD-C1BF-6658EDFBD1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0758575"/>
              </p:ext>
            </p:extLst>
          </p:nvPr>
        </p:nvGraphicFramePr>
        <p:xfrm>
          <a:off x="571500" y="2152650"/>
          <a:ext cx="11049006" cy="36925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6264">
                  <a:extLst>
                    <a:ext uri="{9D8B030D-6E8A-4147-A177-3AD203B41FA5}">
                      <a16:colId xmlns:a16="http://schemas.microsoft.com/office/drawing/2014/main" val="1277449367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1559803692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749930922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3793689385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3875407114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2408773314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2733002888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1614078889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1524560539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3941920834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4101526228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813444676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1608069527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3535307140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547442072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85819228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311773939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73972787"/>
                    </a:ext>
                  </a:extLst>
                </a:gridCol>
                <a:gridCol w="922458">
                  <a:extLst>
                    <a:ext uri="{9D8B030D-6E8A-4147-A177-3AD203B41FA5}">
                      <a16:colId xmlns:a16="http://schemas.microsoft.com/office/drawing/2014/main" val="4030016802"/>
                    </a:ext>
                  </a:extLst>
                </a:gridCol>
                <a:gridCol w="425159">
                  <a:extLst>
                    <a:ext uri="{9D8B030D-6E8A-4147-A177-3AD203B41FA5}">
                      <a16:colId xmlns:a16="http://schemas.microsoft.com/office/drawing/2014/main" val="1323398157"/>
                    </a:ext>
                  </a:extLst>
                </a:gridCol>
                <a:gridCol w="425159">
                  <a:extLst>
                    <a:ext uri="{9D8B030D-6E8A-4147-A177-3AD203B41FA5}">
                      <a16:colId xmlns:a16="http://schemas.microsoft.com/office/drawing/2014/main" val="2565599729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50583074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3410964927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2563588801"/>
                    </a:ext>
                  </a:extLst>
                </a:gridCol>
                <a:gridCol w="255095">
                  <a:extLst>
                    <a:ext uri="{9D8B030D-6E8A-4147-A177-3AD203B41FA5}">
                      <a16:colId xmlns:a16="http://schemas.microsoft.com/office/drawing/2014/main" val="2971947224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845976210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750791673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1741272597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819321952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891782781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602702583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326284426"/>
                    </a:ext>
                  </a:extLst>
                </a:gridCol>
                <a:gridCol w="336264">
                  <a:extLst>
                    <a:ext uri="{9D8B030D-6E8A-4147-A177-3AD203B41FA5}">
                      <a16:colId xmlns:a16="http://schemas.microsoft.com/office/drawing/2014/main" val="2782926178"/>
                    </a:ext>
                  </a:extLst>
                </a:gridCol>
              </a:tblGrid>
              <a:tr h="36000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GB" sz="1100" b="1" u="none" strike="noStrike" dirty="0">
                          <a:effectLst/>
                          <a:latin typeface="+mn-lt"/>
                        </a:rPr>
                        <a:t>Gearbox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+mn-lt"/>
                        </a:rPr>
                        <a:t>KU Adapter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+mn-lt"/>
                        </a:rPr>
                        <a:t>KU Adapter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7915864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E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Z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FZ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B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K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C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63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>
                          <a:effectLst/>
                          <a:latin typeface="+mn-lt"/>
                        </a:rPr>
                        <a:t>71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8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9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0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>
                          <a:effectLst/>
                          <a:latin typeface="+mn-lt"/>
                        </a:rPr>
                        <a:t>112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32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6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8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0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2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5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D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FD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63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71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>
                          <a:effectLst/>
                          <a:latin typeface="+mn-lt"/>
                        </a:rPr>
                        <a:t>80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9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0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12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32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6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8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0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2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5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783925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651678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2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2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8472691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3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3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3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3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3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3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3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3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3396899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4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4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4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4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4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4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4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4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0451658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5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5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944147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6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6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6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6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6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6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503359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7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5304492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6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7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7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8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8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7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7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4222121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8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8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8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0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8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8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6160257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0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0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0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2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0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0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5943029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2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2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2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4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2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2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3715471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4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4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4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6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4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4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1F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4812243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6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6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6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6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1F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191099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8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8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8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191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effectLst/>
                          <a:latin typeface="+mn-lt"/>
                        </a:rPr>
                        <a:t>18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8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397300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E2D2E25-A167-D373-1463-91BCE864B487}"/>
              </a:ext>
            </a:extLst>
          </p:cNvPr>
          <p:cNvSpPr txBox="1"/>
          <p:nvPr/>
        </p:nvSpPr>
        <p:spPr>
          <a:xfrm>
            <a:off x="571500" y="1732121"/>
            <a:ext cx="109728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Available Gearbox-Adapter Combination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691180E-EAFE-A895-3621-4C85690FA7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505" r="29243"/>
          <a:stretch/>
        </p:blipFill>
        <p:spPr>
          <a:xfrm>
            <a:off x="10560844" y="1712265"/>
            <a:ext cx="278606" cy="215832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4D503673-0A02-B178-8F16-80B2C45047D0}"/>
              </a:ext>
            </a:extLst>
          </p:cNvPr>
          <p:cNvSpPr txBox="1"/>
          <p:nvPr/>
        </p:nvSpPr>
        <p:spPr>
          <a:xfrm>
            <a:off x="10902950" y="1732121"/>
            <a:ext cx="14351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1100" dirty="0"/>
              <a:t>availabl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354C66E-EEF5-60EA-2D03-7C8D7D7E1615}"/>
              </a:ext>
            </a:extLst>
          </p:cNvPr>
          <p:cNvSpPr txBox="1"/>
          <p:nvPr/>
        </p:nvSpPr>
        <p:spPr>
          <a:xfrm rot="724443">
            <a:off x="8942359" y="519257"/>
            <a:ext cx="31948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</a:rPr>
              <a:t>NEW!</a:t>
            </a:r>
          </a:p>
        </p:txBody>
      </p:sp>
    </p:spTree>
    <p:extLst>
      <p:ext uri="{BB962C8B-B14F-4D97-AF65-F5344CB8AC3E}">
        <p14:creationId xmlns:p14="http://schemas.microsoft.com/office/powerpoint/2010/main" val="25102359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0B310C-8157-FA8B-816A-A71F029FF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motics SG Geared Motors</a:t>
            </a:r>
            <a:br>
              <a:rPr lang="en-US" dirty="0"/>
            </a:br>
            <a:r>
              <a:rPr lang="en-US" b="0" dirty="0"/>
              <a:t>New IEC Motor Adapter Generation KU</a:t>
            </a:r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6B8D9B0-1EDD-6FC8-6CF0-3D813BCB0C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57A3C039-B349-2CAD-C1BF-6658EDFBD1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912548"/>
              </p:ext>
            </p:extLst>
          </p:nvPr>
        </p:nvGraphicFramePr>
        <p:xfrm>
          <a:off x="571500" y="2152650"/>
          <a:ext cx="11049005" cy="10265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2389">
                  <a:extLst>
                    <a:ext uri="{9D8B030D-6E8A-4147-A177-3AD203B41FA5}">
                      <a16:colId xmlns:a16="http://schemas.microsoft.com/office/drawing/2014/main" val="1277449367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2733002888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1614078889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1524560539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3941920834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4101526228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2813444676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1608069527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3535307140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2547442072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85819228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311773939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273972787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100" b="1" u="none" strike="noStrike" dirty="0">
                          <a:effectLst/>
                          <a:latin typeface="+mn-lt"/>
                        </a:rPr>
                        <a:t>Adapter Bearing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+mn-lt"/>
                        </a:rPr>
                        <a:t>KU Adapter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915864"/>
                  </a:ext>
                </a:extLst>
              </a:tr>
              <a:tr h="222171">
                <a:tc vMerge="1"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63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71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8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9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0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>
                          <a:effectLst/>
                          <a:latin typeface="+mn-lt"/>
                        </a:rPr>
                        <a:t>112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32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6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8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0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2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5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783925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bearing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651678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30 reinforced bearing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○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○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○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○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472691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E2D2E25-A167-D373-1463-91BCE864B487}"/>
              </a:ext>
            </a:extLst>
          </p:cNvPr>
          <p:cNvSpPr txBox="1"/>
          <p:nvPr/>
        </p:nvSpPr>
        <p:spPr>
          <a:xfrm>
            <a:off x="571500" y="1732121"/>
            <a:ext cx="109728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Available Options</a:t>
            </a: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1E648F7E-FF96-7412-4F84-CD0E0067E4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96507"/>
              </p:ext>
            </p:extLst>
          </p:nvPr>
        </p:nvGraphicFramePr>
        <p:xfrm>
          <a:off x="571495" y="3562671"/>
          <a:ext cx="11049005" cy="12486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2389">
                  <a:extLst>
                    <a:ext uri="{9D8B030D-6E8A-4147-A177-3AD203B41FA5}">
                      <a16:colId xmlns:a16="http://schemas.microsoft.com/office/drawing/2014/main" val="1277449367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2733002888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1614078889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1524560539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3941920834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4101526228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2813444676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1608069527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3535307140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2547442072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85819228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311773939"/>
                    </a:ext>
                  </a:extLst>
                </a:gridCol>
                <a:gridCol w="684718">
                  <a:extLst>
                    <a:ext uri="{9D8B030D-6E8A-4147-A177-3AD203B41FA5}">
                      <a16:colId xmlns:a16="http://schemas.microsoft.com/office/drawing/2014/main" val="273972787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100" b="1" u="none" strike="noStrike" dirty="0">
                          <a:effectLst/>
                          <a:latin typeface="+mn-lt"/>
                        </a:rPr>
                        <a:t>Adapter Sealing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+mn-lt"/>
                        </a:rPr>
                        <a:t>KU Adapter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915864"/>
                  </a:ext>
                </a:extLst>
              </a:tr>
              <a:tr h="222171">
                <a:tc vMerge="1"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63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71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8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9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0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>
                          <a:effectLst/>
                          <a:latin typeface="+mn-lt"/>
                        </a:rPr>
                        <a:t>112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32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6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18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0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2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  <a:latin typeface="+mn-lt"/>
                        </a:rPr>
                        <a:t>25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783925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sealing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651678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35 FKM sealing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472691"/>
                  </a:ext>
                </a:extLst>
              </a:tr>
              <a:tr h="222171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A36 Sealing long service lif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●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96899"/>
                  </a:ext>
                </a:extLst>
              </a:tr>
            </a:tbl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175FC15-B8B5-8B73-050B-3417E3E99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912" y="5320810"/>
            <a:ext cx="692150" cy="21583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C4D7E06-2664-D850-C0B6-1AFCD79CA6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249" y="5630565"/>
            <a:ext cx="692150" cy="233309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E3AA5957-7250-3DA7-761F-4DBB0287BB46}"/>
              </a:ext>
            </a:extLst>
          </p:cNvPr>
          <p:cNvSpPr/>
          <p:nvPr/>
        </p:nvSpPr>
        <p:spPr>
          <a:xfrm>
            <a:off x="823911" y="5637219"/>
            <a:ext cx="692150" cy="2266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l"/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3CDF636-B6BE-DEEB-83DB-1F0DA992912F}"/>
              </a:ext>
            </a:extLst>
          </p:cNvPr>
          <p:cNvSpPr txBox="1"/>
          <p:nvPr/>
        </p:nvSpPr>
        <p:spPr>
          <a:xfrm>
            <a:off x="1612900" y="5344087"/>
            <a:ext cx="14351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1100" dirty="0"/>
              <a:t>availabl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3B66C45-FC13-3486-0976-B4443197D0E6}"/>
              </a:ext>
            </a:extLst>
          </p:cNvPr>
          <p:cNvSpPr txBox="1"/>
          <p:nvPr/>
        </p:nvSpPr>
        <p:spPr>
          <a:xfrm>
            <a:off x="1612900" y="5645566"/>
            <a:ext cx="14351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1100" dirty="0"/>
              <a:t>not availabl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6CE34D5-4AB8-BE8C-BD5D-F1BAE008A3E1}"/>
              </a:ext>
            </a:extLst>
          </p:cNvPr>
          <p:cNvSpPr txBox="1"/>
          <p:nvPr/>
        </p:nvSpPr>
        <p:spPr>
          <a:xfrm rot="724443">
            <a:off x="8942359" y="519257"/>
            <a:ext cx="31948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</a:rPr>
              <a:t>NEW!</a:t>
            </a:r>
          </a:p>
        </p:txBody>
      </p:sp>
    </p:spTree>
    <p:extLst>
      <p:ext uri="{BB962C8B-B14F-4D97-AF65-F5344CB8AC3E}">
        <p14:creationId xmlns:p14="http://schemas.microsoft.com/office/powerpoint/2010/main" val="36066269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7DFF24-C35A-3A94-274D-8B6F2B5BC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motics SG Geared Motors</a:t>
            </a:r>
            <a:br>
              <a:rPr lang="en-US" dirty="0"/>
            </a:br>
            <a:r>
              <a:rPr lang="en-US" b="0" dirty="0"/>
              <a:t>New IEC Motor Adapter Generation KU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DB8EB52-478F-909F-5043-5AB4C056D9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2D8B732C-DB8C-A469-47E6-1B7E0E5AD5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801024"/>
              </p:ext>
            </p:extLst>
          </p:nvPr>
        </p:nvGraphicFramePr>
        <p:xfrm>
          <a:off x="571500" y="1331410"/>
          <a:ext cx="11049000" cy="4577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43402">
                  <a:extLst>
                    <a:ext uri="{9D8B030D-6E8A-4147-A177-3AD203B41FA5}">
                      <a16:colId xmlns:a16="http://schemas.microsoft.com/office/drawing/2014/main" val="4112791689"/>
                    </a:ext>
                  </a:extLst>
                </a:gridCol>
                <a:gridCol w="6705598">
                  <a:extLst>
                    <a:ext uri="{9D8B030D-6E8A-4147-A177-3AD203B41FA5}">
                      <a16:colId xmlns:a16="http://schemas.microsoft.com/office/drawing/2014/main" val="2512924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FAQ’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32175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K2 adapter offers a slip clutch and backstop option. Are these options also available for KU adapter?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These options are not available for KU adapters. However, K2 adapter with slip clutch/backstop will stay in our portfolio.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1722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KU shall replace K2 and K4 adapter but is only available up to size 250. K2 is available also in sizes 280 and 315?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These sizes are not available for KU adapters. However, K2 adapter 280 and 315 will stay in our portfolio.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78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re the same gearbox-adapter combinations available for KU which were available for K2 and K4?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Yes.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64011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Is the KU adapter available for NEMA motors?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No. Please use K3/K5 adapters.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491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Can KU adapters be used in explosive environments?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Yes. 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6415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Is the KU adapter available with fast track option (W50)?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Yes.</a:t>
                      </a: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3184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0763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AC31D5-8B42-5D94-DA2A-832040011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246FFE-5E3B-C784-5327-607E9148208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INNOMOTICS | IN LVM GM PPM PM</a:t>
            </a:r>
          </a:p>
        </p:txBody>
      </p:sp>
    </p:spTree>
    <p:extLst>
      <p:ext uri="{BB962C8B-B14F-4D97-AF65-F5344CB8AC3E}">
        <p14:creationId xmlns:p14="http://schemas.microsoft.com/office/powerpoint/2010/main" val="3643872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QiwM81tsZEidlbndBgjCkFAAAAAAADAAAAAwADAAAAAQADAAIA////////BAAAAAMAEAALy/rYPadiFUCNU9H2odWFhQ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MQiwM81tsZEidlbndBgjCkDRGF0YQAbAAAABExpbmtlZFNoYXBlRGF0YQAFAAAAAAACTmFtZQAZAAAATGlua2VkU2hhcGVzRGF0YVByb3BlcnR5ABBWZXJzaW9uAAAAAAAJTGFzdFdyaXRlACFU9CSJAQAAAAEA/////8YAxgAAAAVfaWQAEAAAAATL+tg9p2IVQI1T0fah1YWFA0RhdGEAUwAAAAhQcmVzZW50YXRpb25TY2FubmVkRm9yTGlua2VkU2hhcGVzAAECTnVtYmVyRm9ybWF0U2VwYXJhdG9yTW9kZQAKAAAAQXV0b21hdGljAAACTmFtZQAkAAAATGlua2VkU2hhcGVQcmVzZW50YXRpb25TZXR0aW5nc0RhdGEAEFZlcnNpb24AAAAAAAlMYXN0V3JpdGUAr1T0JI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INNOMOTICS">
  <a:themeElements>
    <a:clrScheme name="INNOMOTICS Color">
      <a:dk1>
        <a:sysClr val="windowText" lastClr="000000"/>
      </a:dk1>
      <a:lt1>
        <a:sysClr val="window" lastClr="FFFFFF"/>
      </a:lt1>
      <a:dk2>
        <a:srgbClr val="08191F"/>
      </a:dk2>
      <a:lt2>
        <a:srgbClr val="E1F000"/>
      </a:lt2>
      <a:accent1>
        <a:srgbClr val="E1F000"/>
      </a:accent1>
      <a:accent2>
        <a:srgbClr val="566B73"/>
      </a:accent2>
      <a:accent3>
        <a:srgbClr val="9AACB4"/>
      </a:accent3>
      <a:accent4>
        <a:srgbClr val="E4EAED"/>
      </a:accent4>
      <a:accent5>
        <a:srgbClr val="566B73"/>
      </a:accent5>
      <a:accent6>
        <a:srgbClr val="E4EAED"/>
      </a:accent6>
      <a:hlink>
        <a:srgbClr val="08191F"/>
      </a:hlink>
      <a:folHlink>
        <a:srgbClr val="6D818A"/>
      </a:folHlink>
    </a:clrScheme>
    <a:fontScheme name="Innomotics">
      <a:majorFont>
        <a:latin typeface="Innomotics Haffer SQ"/>
        <a:ea typeface=""/>
        <a:cs typeface=""/>
      </a:majorFont>
      <a:minorFont>
        <a:latin typeface="Innomotics Haffer SQ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72000" tIns="36000" rIns="72000" bIns="36000" rtlCol="0" anchor="t"/>
      <a:lstStyle>
        <a:defPPr algn="l">
          <a:defRPr sz="16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ower Gray | 90%">
      <a:srgbClr val="2A3B40"/>
    </a:custClr>
    <a:custClr name="Power Gray | 80%">
      <a:srgbClr val="40545B"/>
    </a:custClr>
    <a:custClr name="Power Gray | 70%">
      <a:srgbClr val="566B73"/>
    </a:custClr>
    <a:custClr name="Power Gray | 60%">
      <a:srgbClr val="6D818A"/>
    </a:custClr>
    <a:custClr name="Power Gray | 50%">
      <a:srgbClr val="83979F"/>
    </a:custClr>
    <a:custClr name="Power Gray | 40%">
      <a:srgbClr val="9AACB4"/>
    </a:custClr>
    <a:custClr name="Power Gray | 30%">
      <a:srgbClr val="B2C1C7"/>
    </a:custClr>
    <a:custClr name="Power Gray | 20%">
      <a:srgbClr val="CAD5DA"/>
    </a:custClr>
    <a:custClr name="Power Gray | 10%">
      <a:srgbClr val="E4EAED"/>
    </a:custClr>
    <a:custClr name="Power Gray | 5%">
      <a:srgbClr val="F1F4F6"/>
    </a:custClr>
  </a:custClrLst>
  <a:extLst>
    <a:ext uri="{05A4C25C-085E-4340-85A3-A5531E510DB2}">
      <thm15:themeFamily xmlns:thm15="http://schemas.microsoft.com/office/thememl/2012/main" name="INNOMOTICS" id="{6AF74407-A85C-461C-8E61-CEEC9AF43B26}" vid="{0110B821-D0F7-4C12-A98E-AC0F1EB9E565}"/>
    </a:ext>
  </a:extLst>
</a:theme>
</file>

<file path=ppt/theme/theme2.xml><?xml version="1.0" encoding="utf-8"?>
<a:theme xmlns:a="http://schemas.openxmlformats.org/drawingml/2006/main" name="Innomotics_Master">
  <a:themeElements>
    <a:clrScheme name="INNOMOTICS Color">
      <a:dk1>
        <a:sysClr val="windowText" lastClr="000000"/>
      </a:dk1>
      <a:lt1>
        <a:sysClr val="window" lastClr="FFFFFF"/>
      </a:lt1>
      <a:dk2>
        <a:srgbClr val="08191F"/>
      </a:dk2>
      <a:lt2>
        <a:srgbClr val="E1F000"/>
      </a:lt2>
      <a:accent1>
        <a:srgbClr val="E1F000"/>
      </a:accent1>
      <a:accent2>
        <a:srgbClr val="566B73"/>
      </a:accent2>
      <a:accent3>
        <a:srgbClr val="9AACB4"/>
      </a:accent3>
      <a:accent4>
        <a:srgbClr val="E4EAED"/>
      </a:accent4>
      <a:accent5>
        <a:srgbClr val="566B73"/>
      </a:accent5>
      <a:accent6>
        <a:srgbClr val="E4EAED"/>
      </a:accent6>
      <a:hlink>
        <a:srgbClr val="08191F"/>
      </a:hlink>
      <a:folHlink>
        <a:srgbClr val="6D818A"/>
      </a:folHlink>
    </a:clrScheme>
    <a:fontScheme name="Innomotics">
      <a:majorFont>
        <a:latin typeface="Innomotics Haffer SQ"/>
        <a:ea typeface=""/>
        <a:cs typeface=""/>
      </a:majorFont>
      <a:minorFont>
        <a:latin typeface="Innomotics Haffer SQ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72000" tIns="36000" rIns="72000" bIns="36000" rtlCol="0" anchor="t"/>
      <a:lstStyle>
        <a:defPPr algn="l">
          <a:defRPr sz="16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ower Gray | 90%">
      <a:srgbClr val="2A3B40"/>
    </a:custClr>
    <a:custClr name="Power Gray | 80%">
      <a:srgbClr val="40545B"/>
    </a:custClr>
    <a:custClr name="Power Gray | 70%">
      <a:srgbClr val="566B73"/>
    </a:custClr>
    <a:custClr name="Power Gray | 60%">
      <a:srgbClr val="6D818A"/>
    </a:custClr>
    <a:custClr name="Power Gray | 50%">
      <a:srgbClr val="83979F"/>
    </a:custClr>
    <a:custClr name="Power Gray | 40%">
      <a:srgbClr val="9AACB4"/>
    </a:custClr>
    <a:custClr name="Power Gray | 30%">
      <a:srgbClr val="B2C1C7"/>
    </a:custClr>
    <a:custClr name="Power Gray | 20%">
      <a:srgbClr val="CAD5DA"/>
    </a:custClr>
    <a:custClr name="Power Gray | 10%">
      <a:srgbClr val="E4EAED"/>
    </a:custClr>
    <a:custClr name="Power Gray | 5%">
      <a:srgbClr val="F1F4F6"/>
    </a:custClr>
  </a:custClrLst>
  <a:extLst>
    <a:ext uri="{05A4C25C-085E-4340-85A3-A5531E510DB2}">
      <thm15:themeFamily xmlns:thm15="http://schemas.microsoft.com/office/thememl/2012/main" name="Innomotics_Master" id="{6467D685-D2E6-49CE-8A89-CEE0E4E9077E}" vid="{B6C05A3E-ADF1-4507-84BE-0CA02BA879E0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a83027bd-9ef0-4215-929f-4e3e20d51aff" xsi:nil="true"/>
    <lcf76f155ced4ddcb4097134ff3c332f xmlns="a83027bd-9ef0-4215-929f-4e3e20d51aff">
      <Terms xmlns="http://schemas.microsoft.com/office/infopath/2007/PartnerControls"/>
    </lcf76f155ced4ddcb4097134ff3c332f>
    <TaxCatchAll xmlns="252c3ef7-d094-4eb3-bd05-79eca37cc0c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0F5045869527646972399D627243F27" ma:contentTypeVersion="19" ma:contentTypeDescription="Skapa ett nytt dokument." ma:contentTypeScope="" ma:versionID="c035d6f193954003152f3daf0ae78d7d">
  <xsd:schema xmlns:xsd="http://www.w3.org/2001/XMLSchema" xmlns:xs="http://www.w3.org/2001/XMLSchema" xmlns:p="http://schemas.microsoft.com/office/2006/metadata/properties" xmlns:ns2="a83027bd-9ef0-4215-929f-4e3e20d51aff" xmlns:ns3="252c3ef7-d094-4eb3-bd05-79eca37cc0ca" targetNamespace="http://schemas.microsoft.com/office/2006/metadata/properties" ma:root="true" ma:fieldsID="93fc3dd06da9c43eeb21a5548f19e54d" ns2:_="" ns3:_="">
    <xsd:import namespace="a83027bd-9ef0-4215-929f-4e3e20d51aff"/>
    <xsd:import namespace="252c3ef7-d094-4eb3-bd05-79eca37cc0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3027bd-9ef0-4215-929f-4e3e20d51a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Bildmarkeringar" ma:readOnly="false" ma:fieldId="{5cf76f15-5ced-4ddc-b409-7134ff3c332f}" ma:taxonomyMulti="true" ma:sspId="4ebe95dd-b5a2-4d1a-b7f3-4f61d0d9fad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_Flow_SignoffStatus" ma:index="24" nillable="true" ma:displayName="Sign-off status" ma:internalName="Sign_x002d_off_x0020_status">
      <xsd:simpleType>
        <xsd:restriction base="dms:Text"/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2c3ef7-d094-4eb3-bd05-79eca37cc0c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5e5110b-f419-4d4f-a534-f413d7af5f5d}" ma:internalName="TaxCatchAll" ma:showField="CatchAllData" ma:web="252c3ef7-d094-4eb3-bd05-79eca37cc0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A88E02-0098-4E29-B378-3A967AF613BC}">
  <ds:schemaRefs>
    <ds:schemaRef ds:uri="http://schemas.microsoft.com/office/2006/metadata/properties"/>
    <ds:schemaRef ds:uri="5437cf34-c0c3-4855-8649-760b5b39eeac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B6C82EE-17D7-4D1E-9860-F3DF59FBC5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D93B31-5984-420B-9929-6465CD2FCA3F}"/>
</file>

<file path=docMetadata/LabelInfo.xml><?xml version="1.0" encoding="utf-8"?>
<clbl:labelList xmlns:clbl="http://schemas.microsoft.com/office/2020/mipLabelMetadata">
  <clbl:label id="{707c3c3c-9479-4e9e-ace6-d736970bf3b0}" enabled="1" method="Privilege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NNOMOTICS</Template>
  <TotalTime>1630</TotalTime>
  <Words>1075</Words>
  <Application>Microsoft Office PowerPoint</Application>
  <PresentationFormat>Bredbild</PresentationFormat>
  <Paragraphs>511</Paragraphs>
  <Slides>8</Slides>
  <Notes>0</Notes>
  <HiddenSlides>0</HiddenSlides>
  <MMClips>0</MMClips>
  <ScaleCrop>false</ScaleCrop>
  <HeadingPairs>
    <vt:vector size="6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2</vt:i4>
      </vt:variant>
      <vt:variant>
        <vt:lpstr>Bildrubriker</vt:lpstr>
      </vt:variant>
      <vt:variant>
        <vt:i4>8</vt:i4>
      </vt:variant>
    </vt:vector>
  </HeadingPairs>
  <TitlesOfParts>
    <vt:vector size="15" baseType="lpstr">
      <vt:lpstr>Arial</vt:lpstr>
      <vt:lpstr>Calibri</vt:lpstr>
      <vt:lpstr>Innomotics Haffer SQ</vt:lpstr>
      <vt:lpstr>Wingdings</vt:lpstr>
      <vt:lpstr>Wingdings 3</vt:lpstr>
      <vt:lpstr>INNOMOTICS</vt:lpstr>
      <vt:lpstr>Innomotics_Master</vt:lpstr>
      <vt:lpstr>Innomotics SG Geared Motors</vt:lpstr>
      <vt:lpstr>Innomotics SG Geared Motors New IEC Motor Adapter Generation KU</vt:lpstr>
      <vt:lpstr>Innomotics SG Geared Motors New IEC Motor Adapter Generation KU</vt:lpstr>
      <vt:lpstr>Innomotics SG Geared Motors New IEC Motor Adapter Generation KU</vt:lpstr>
      <vt:lpstr>Innomotics SG Geared Motors New IEC Motor Adapter Generation KU</vt:lpstr>
      <vt:lpstr>Innomotics SG Geared Motors New IEC Motor Adapter Generation KU</vt:lpstr>
      <vt:lpstr>Innomotics SG Geared Motors New IEC Motor Adapter Generation KU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lier, Thomas (SMD LVM GM PPM PM)</dc:creator>
  <cp:lastModifiedBy>Hammar, Martin (IN EA RC-NO S DED)</cp:lastModifiedBy>
  <cp:revision>9</cp:revision>
  <dcterms:created xsi:type="dcterms:W3CDTF">2023-07-05T07:28:48Z</dcterms:created>
  <dcterms:modified xsi:type="dcterms:W3CDTF">2024-11-19T12:5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d258917-277f-42cd-a3cd-14c4e9ee58bc_Enabled">
    <vt:lpwstr>true</vt:lpwstr>
  </property>
  <property fmtid="{D5CDD505-2E9C-101B-9397-08002B2CF9AE}" pid="3" name="MSIP_Label_9d258917-277f-42cd-a3cd-14c4e9ee58bc_SetDate">
    <vt:lpwstr>2023-07-05T12:35:49Z</vt:lpwstr>
  </property>
  <property fmtid="{D5CDD505-2E9C-101B-9397-08002B2CF9AE}" pid="4" name="MSIP_Label_9d258917-277f-42cd-a3cd-14c4e9ee58bc_Method">
    <vt:lpwstr>Standard</vt:lpwstr>
  </property>
  <property fmtid="{D5CDD505-2E9C-101B-9397-08002B2CF9AE}" pid="5" name="MSIP_Label_9d258917-277f-42cd-a3cd-14c4e9ee58bc_Name">
    <vt:lpwstr>restricted</vt:lpwstr>
  </property>
  <property fmtid="{D5CDD505-2E9C-101B-9397-08002B2CF9AE}" pid="6" name="MSIP_Label_9d258917-277f-42cd-a3cd-14c4e9ee58bc_SiteId">
    <vt:lpwstr>38ae3bcd-9579-4fd4-adda-b42e1495d55a</vt:lpwstr>
  </property>
  <property fmtid="{D5CDD505-2E9C-101B-9397-08002B2CF9AE}" pid="7" name="MSIP_Label_9d258917-277f-42cd-a3cd-14c4e9ee58bc_ActionId">
    <vt:lpwstr>4e3f64e4-961b-4b32-aec7-1c22c4884123</vt:lpwstr>
  </property>
  <property fmtid="{D5CDD505-2E9C-101B-9397-08002B2CF9AE}" pid="8" name="MSIP_Label_9d258917-277f-42cd-a3cd-14c4e9ee58bc_ContentBits">
    <vt:lpwstr>0</vt:lpwstr>
  </property>
  <property fmtid="{D5CDD505-2E9C-101B-9397-08002B2CF9AE}" pid="9" name="Document_Confidentiality">
    <vt:lpwstr>Restricted</vt:lpwstr>
  </property>
  <property fmtid="{D5CDD505-2E9C-101B-9397-08002B2CF9AE}" pid="10" name="ContentTypeId">
    <vt:lpwstr>0x01010030F5045869527646972399D627243F27</vt:lpwstr>
  </property>
</Properties>
</file>